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heme/theme2.xml" ContentType="application/vnd.openxmlformats-officedocument.them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5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8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11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12.xml" ContentType="application/vnd.openxmlformats-officedocument.theme+xml"/>
  <Override PartName="/ppt/tags/tag3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4.xml" ContentType="application/vnd.openxmlformats-officedocument.theme+xml"/>
  <Override PartName="/ppt/tags/tag6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5.xml" ContentType="application/vnd.openxmlformats-officedocument.theme+xml"/>
  <Override PartName="/ppt/tags/tag7.xml" ContentType="application/vnd.openxmlformats-officedocument.presentationml.tags+xml"/>
  <Override PartName="/ppt/slideLayouts/slideLayout66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slideLayouts/slideLayout67.xml" ContentType="application/vnd.openxmlformats-officedocument.presentationml.slideLayout+xml"/>
  <Override PartName="/ppt/theme/theme20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1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2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23.xml" ContentType="application/vnd.openxmlformats-officedocument.theme+xml"/>
  <Override PartName="/ppt/slideLayouts/slideLayout85.xml" ContentType="application/vnd.openxmlformats-officedocument.presentationml.slideLayout+xml"/>
  <Override PartName="/ppt/theme/theme24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25.xml" ContentType="application/vnd.openxmlformats-officedocument.theme+xml"/>
  <Override PartName="/ppt/tags/tag10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26.xml" ContentType="application/vnd.openxmlformats-officedocument.theme+xml"/>
  <Override PartName="/ppt/tags/tag11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27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28.xml" ContentType="application/vnd.openxmlformats-officedocument.theme+xml"/>
  <Override PartName="/ppt/tags/tag12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29.xml" ContentType="application/vnd.openxmlformats-officedocument.theme+xml"/>
  <Override PartName="/ppt/tags/tag13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30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31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2.xml" ContentType="application/vnd.openxmlformats-officedocument.theme+xml"/>
  <Override PartName="/ppt/theme/theme3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6" r:id="rId1"/>
    <p:sldMasterId id="2147483769" r:id="rId2"/>
    <p:sldMasterId id="2147483772" r:id="rId3"/>
    <p:sldMasterId id="2147483794" r:id="rId4"/>
    <p:sldMasterId id="2147483803" r:id="rId5"/>
    <p:sldMasterId id="2147483811" r:id="rId6"/>
    <p:sldMasterId id="2147483780" r:id="rId7"/>
    <p:sldMasterId id="2147483831" r:id="rId8"/>
    <p:sldMasterId id="2147483845" r:id="rId9"/>
    <p:sldMasterId id="2147483854" r:id="rId10"/>
    <p:sldMasterId id="2147483861" r:id="rId11"/>
    <p:sldMasterId id="2147483873" r:id="rId12"/>
    <p:sldMasterId id="2147483880" r:id="rId13"/>
    <p:sldMasterId id="2147483884" r:id="rId14"/>
    <p:sldMasterId id="2147483891" r:id="rId15"/>
    <p:sldMasterId id="2147483898" r:id="rId16"/>
    <p:sldMasterId id="2147483900" r:id="rId17"/>
    <p:sldMasterId id="2147483902" r:id="rId18"/>
    <p:sldMasterId id="2147483904" r:id="rId19"/>
    <p:sldMasterId id="2147483906" r:id="rId20"/>
    <p:sldMasterId id="2147483908" r:id="rId21"/>
    <p:sldMasterId id="2147483922" r:id="rId22"/>
    <p:sldMasterId id="2147483925" r:id="rId23"/>
    <p:sldMasterId id="2147483928" r:id="rId24"/>
    <p:sldMasterId id="2147483930" r:id="rId25"/>
    <p:sldMasterId id="2147483938" r:id="rId26"/>
    <p:sldMasterId id="2147483946" r:id="rId27"/>
    <p:sldMasterId id="2147483953" r:id="rId28"/>
    <p:sldMasterId id="2147483961" r:id="rId29"/>
    <p:sldMasterId id="2147483969" r:id="rId30"/>
    <p:sldMasterId id="2147483981" r:id="rId31"/>
  </p:sldMasterIdLst>
  <p:notesMasterIdLst>
    <p:notesMasterId r:id="rId40"/>
  </p:notesMasterIdLst>
  <p:handoutMasterIdLst>
    <p:handoutMasterId r:id="rId41"/>
  </p:handoutMasterIdLst>
  <p:sldIdLst>
    <p:sldId id="963" r:id="rId32"/>
    <p:sldId id="1031" r:id="rId33"/>
    <p:sldId id="1053" r:id="rId34"/>
    <p:sldId id="1052" r:id="rId35"/>
    <p:sldId id="1038" r:id="rId36"/>
    <p:sldId id="1048" r:id="rId37"/>
    <p:sldId id="1051" r:id="rId38"/>
    <p:sldId id="1054" r:id="rId39"/>
  </p:sldIdLst>
  <p:sldSz cx="9144000" cy="514826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1" userDrawn="1">
          <p15:clr>
            <a:srgbClr val="A4A3A4"/>
          </p15:clr>
        </p15:guide>
        <p15:guide id="2" pos="340" userDrawn="1">
          <p15:clr>
            <a:srgbClr val="A4A3A4"/>
          </p15:clr>
        </p15:guide>
        <p15:guide id="3" orient="horz" pos="3028" userDrawn="1">
          <p15:clr>
            <a:srgbClr val="A4A3A4"/>
          </p15:clr>
        </p15:guide>
        <p15:guide id="4" pos="5511" userDrawn="1">
          <p15:clr>
            <a:srgbClr val="A4A3A4"/>
          </p15:clr>
        </p15:guide>
        <p15:guide id="5" orient="horz" pos="272">
          <p15:clr>
            <a:srgbClr val="A4A3A4"/>
          </p15:clr>
        </p15:guide>
        <p15:guide id="6" orient="horz" pos="2971">
          <p15:clr>
            <a:srgbClr val="A4A3A4"/>
          </p15:clr>
        </p15:guide>
        <p15:guide id="7" orient="horz" pos="930">
          <p15:clr>
            <a:srgbClr val="A4A3A4"/>
          </p15:clr>
        </p15:guide>
        <p15:guide id="8" orient="horz" pos="1337">
          <p15:clr>
            <a:srgbClr val="A4A3A4"/>
          </p15:clr>
        </p15:guide>
        <p15:guide id="9" orient="horz" pos="2086">
          <p15:clr>
            <a:srgbClr val="A4A3A4"/>
          </p15:clr>
        </p15:guide>
        <p15:guide id="10" pos="2331">
          <p15:clr>
            <a:srgbClr val="A4A3A4"/>
          </p15:clr>
        </p15:guide>
        <p15:guide id="11" pos="726">
          <p15:clr>
            <a:srgbClr val="A4A3A4"/>
          </p15:clr>
        </p15:guide>
        <p15:guide id="12" pos="875">
          <p15:clr>
            <a:srgbClr val="A4A3A4"/>
          </p15:clr>
        </p15:guide>
        <p15:guide id="13" pos="1260">
          <p15:clr>
            <a:srgbClr val="A4A3A4"/>
          </p15:clr>
        </p15:guide>
        <p15:guide id="14" pos="1410">
          <p15:clr>
            <a:srgbClr val="A4A3A4"/>
          </p15:clr>
        </p15:guide>
        <p15:guide id="15" pos="1796">
          <p15:clr>
            <a:srgbClr val="A4A3A4"/>
          </p15:clr>
        </p15:guide>
        <p15:guide id="16" pos="1944">
          <p15:clr>
            <a:srgbClr val="A4A3A4"/>
          </p15:clr>
        </p15:guide>
        <p15:guide id="17" pos="2481">
          <p15:clr>
            <a:srgbClr val="A4A3A4"/>
          </p15:clr>
        </p15:guide>
        <p15:guide id="18" pos="2869">
          <p15:clr>
            <a:srgbClr val="A4A3A4"/>
          </p15:clr>
        </p15:guide>
        <p15:guide id="19" pos="3029">
          <p15:clr>
            <a:srgbClr val="A4A3A4"/>
          </p15:clr>
        </p15:guide>
        <p15:guide id="20" pos="3402">
          <p15:clr>
            <a:srgbClr val="A4A3A4"/>
          </p15:clr>
        </p15:guide>
        <p15:guide id="21" pos="3552">
          <p15:clr>
            <a:srgbClr val="A4A3A4"/>
          </p15:clr>
        </p15:guide>
        <p15:guide id="22" pos="3938">
          <p15:clr>
            <a:srgbClr val="A4A3A4"/>
          </p15:clr>
        </p15:guide>
        <p15:guide id="23" pos="4086">
          <p15:clr>
            <a:srgbClr val="A4A3A4"/>
          </p15:clr>
        </p15:guide>
        <p15:guide id="24" pos="4473">
          <p15:clr>
            <a:srgbClr val="A4A3A4"/>
          </p15:clr>
        </p15:guide>
        <p15:guide id="25" pos="4621">
          <p15:clr>
            <a:srgbClr val="A4A3A4"/>
          </p15:clr>
        </p15:guide>
        <p15:guide id="26" pos="5008">
          <p15:clr>
            <a:srgbClr val="A4A3A4"/>
          </p15:clr>
        </p15:guide>
        <p15:guide id="27" pos="5157">
          <p15:clr>
            <a:srgbClr val="A4A3A4"/>
          </p15:clr>
        </p15:guide>
        <p15:guide id="28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48F"/>
    <a:srgbClr val="212121"/>
    <a:srgbClr val="333333"/>
    <a:srgbClr val="FFCCCC"/>
    <a:srgbClr val="EBF4FB"/>
    <a:srgbClr val="8BE1FF"/>
    <a:srgbClr val="33CAFF"/>
    <a:srgbClr val="C9F1FF"/>
    <a:srgbClr val="CEFCC8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3333" autoAdjust="0"/>
    <p:restoredTop sz="93979" autoAdjust="0"/>
  </p:normalViewPr>
  <p:slideViewPr>
    <p:cSldViewPr snapToGrid="0">
      <p:cViewPr varScale="1">
        <p:scale>
          <a:sx n="85" d="100"/>
          <a:sy n="85" d="100"/>
        </p:scale>
        <p:origin x="60" y="156"/>
      </p:cViewPr>
      <p:guideLst>
        <p:guide orient="horz" pos="261"/>
        <p:guide pos="340"/>
        <p:guide orient="horz" pos="3028"/>
        <p:guide pos="5511"/>
        <p:guide orient="horz" pos="272"/>
        <p:guide orient="horz" pos="2971"/>
        <p:guide orient="horz" pos="930"/>
        <p:guide orient="horz" pos="1337"/>
        <p:guide orient="horz" pos="2086"/>
        <p:guide pos="2331"/>
        <p:guide pos="726"/>
        <p:guide pos="875"/>
        <p:guide pos="1260"/>
        <p:guide pos="1410"/>
        <p:guide pos="1796"/>
        <p:guide pos="1944"/>
        <p:guide pos="2481"/>
        <p:guide pos="2869"/>
        <p:guide pos="3029"/>
        <p:guide pos="3402"/>
        <p:guide pos="3552"/>
        <p:guide pos="3938"/>
        <p:guide pos="4086"/>
        <p:guide pos="4473"/>
        <p:guide pos="4621"/>
        <p:guide pos="5008"/>
        <p:guide pos="5157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72" d="100"/>
          <a:sy n="172" d="100"/>
        </p:scale>
        <p:origin x="6552" y="208"/>
      </p:cViewPr>
      <p:guideLst>
        <p:guide orient="horz" pos="3127"/>
        <p:guide pos="2141"/>
      </p:guideLst>
    </p:cSldViewPr>
  </p:notesViewPr>
  <p:gridSpacing cx="1080136" cy="1080136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8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3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2.xml"/><Relationship Id="rId38" Type="http://schemas.openxmlformats.org/officeDocument/2006/relationships/slide" Target="slides/slide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1.xml"/><Relationship Id="rId37" Type="http://schemas.openxmlformats.org/officeDocument/2006/relationships/slide" Target="slides/slide6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5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4.xml"/><Relationship Id="rId43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4A5940-F23B-4D81-A831-314039044B1A}" type="doc">
      <dgm:prSet loTypeId="urn:microsoft.com/office/officeart/2005/8/layout/vList3#1" loCatId="list" qsTypeId="urn:microsoft.com/office/officeart/2005/8/quickstyle/simple1" qsCatId="simple" csTypeId="urn:microsoft.com/office/officeart/2005/8/colors/colorful1#1" csCatId="colorful" phldr="1"/>
      <dgm:spPr/>
    </dgm:pt>
    <dgm:pt modelId="{41E6577B-DF14-44DF-98FC-548BBC7A4B18}">
      <dgm:prSet phldrT="[Текст]" custT="1"/>
      <dgm:spPr>
        <a:solidFill>
          <a:schemeClr val="bg1"/>
        </a:solidFill>
        <a:ln>
          <a:solidFill>
            <a:srgbClr val="002060"/>
          </a:solidFill>
        </a:ln>
      </dgm:spPr>
      <dgm:t>
        <a:bodyPr/>
        <a:lstStyle/>
        <a:p>
          <a:pPr algn="l"/>
          <a:r>
            <a:rPr lang="ru-RU" sz="1600" b="0" kern="1200" dirty="0" smtClean="0">
              <a:solidFill>
                <a:srgbClr val="002060"/>
              </a:solidFill>
              <a:effectLst>
                <a:innerShdw blurRad="127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rPr>
            <a:t>Быть внимательным к требованиям заказчика</a:t>
          </a:r>
          <a:endParaRPr lang="ru-RU" sz="1600" b="0" kern="1200" dirty="0">
            <a:solidFill>
              <a:srgbClr val="002060"/>
            </a:solidFill>
            <a:effectLst>
              <a:innerShdw blurRad="12700" dist="50800" dir="13500000">
                <a:prstClr val="black">
                  <a:alpha val="50000"/>
                </a:prstClr>
              </a:innerShdw>
            </a:effectLst>
            <a:latin typeface="+mj-lt"/>
            <a:ea typeface="+mj-ea"/>
            <a:cs typeface="+mj-cs"/>
          </a:endParaRPr>
        </a:p>
      </dgm:t>
    </dgm:pt>
    <dgm:pt modelId="{0EC77A04-AAFE-431B-8B39-0A29B1ECA785}" type="parTrans" cxnId="{00DD40DF-0B2A-4E09-A9AD-0888BE6FD0BE}">
      <dgm:prSet/>
      <dgm:spPr/>
      <dgm:t>
        <a:bodyPr/>
        <a:lstStyle/>
        <a:p>
          <a:pPr algn="l"/>
          <a:endParaRPr lang="ru-RU" sz="1100">
            <a:latin typeface="+mn-lt"/>
          </a:endParaRPr>
        </a:p>
      </dgm:t>
    </dgm:pt>
    <dgm:pt modelId="{C9341485-A2EA-4B06-83C6-6BD9FCD35599}" type="sibTrans" cxnId="{00DD40DF-0B2A-4E09-A9AD-0888BE6FD0BE}">
      <dgm:prSet/>
      <dgm:spPr/>
      <dgm:t>
        <a:bodyPr/>
        <a:lstStyle/>
        <a:p>
          <a:pPr algn="l"/>
          <a:endParaRPr lang="ru-RU" sz="1100">
            <a:latin typeface="+mn-lt"/>
          </a:endParaRPr>
        </a:p>
      </dgm:t>
    </dgm:pt>
    <dgm:pt modelId="{5C18605C-36BD-4E34-879D-97705298F380}">
      <dgm:prSet phldrT="[Текст]" custT="1"/>
      <dgm:spPr>
        <a:solidFill>
          <a:schemeClr val="bg1"/>
        </a:solidFill>
        <a:ln>
          <a:solidFill>
            <a:srgbClr val="002060"/>
          </a:solidFill>
        </a:ln>
      </dgm:spPr>
      <dgm:t>
        <a:bodyPr/>
        <a:lstStyle/>
        <a:p>
          <a:pPr algn="l"/>
          <a:r>
            <a:rPr lang="ru-RU" sz="1600" b="0" kern="1200" dirty="0" smtClean="0">
              <a:solidFill>
                <a:srgbClr val="002060"/>
              </a:solidFill>
              <a:effectLst>
                <a:innerShdw blurRad="127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rPr>
            <a:t>Решать проблемы в месте их возникновения </a:t>
          </a:r>
          <a:endParaRPr lang="ru-RU" sz="1600" b="0" kern="1200" dirty="0">
            <a:solidFill>
              <a:srgbClr val="002060"/>
            </a:solidFill>
            <a:effectLst>
              <a:innerShdw blurRad="12700" dist="50800" dir="13500000">
                <a:prstClr val="black">
                  <a:alpha val="50000"/>
                </a:prstClr>
              </a:innerShdw>
            </a:effectLst>
            <a:latin typeface="+mj-lt"/>
            <a:ea typeface="+mj-ea"/>
            <a:cs typeface="+mj-cs"/>
          </a:endParaRPr>
        </a:p>
      </dgm:t>
    </dgm:pt>
    <dgm:pt modelId="{3F6247EB-138A-4944-B13E-406DFA4D2286}" type="parTrans" cxnId="{038934CD-15B9-4ED7-9BE1-F24C50DB3C3A}">
      <dgm:prSet/>
      <dgm:spPr/>
      <dgm:t>
        <a:bodyPr/>
        <a:lstStyle/>
        <a:p>
          <a:pPr algn="l"/>
          <a:endParaRPr lang="ru-RU" sz="1100">
            <a:latin typeface="+mn-lt"/>
          </a:endParaRPr>
        </a:p>
      </dgm:t>
    </dgm:pt>
    <dgm:pt modelId="{FEA8AB1D-3435-41DB-9DF6-EA495D78053A}" type="sibTrans" cxnId="{038934CD-15B9-4ED7-9BE1-F24C50DB3C3A}">
      <dgm:prSet/>
      <dgm:spPr/>
      <dgm:t>
        <a:bodyPr/>
        <a:lstStyle/>
        <a:p>
          <a:pPr algn="l"/>
          <a:endParaRPr lang="ru-RU" sz="1100">
            <a:latin typeface="+mn-lt"/>
          </a:endParaRPr>
        </a:p>
      </dgm:t>
    </dgm:pt>
    <dgm:pt modelId="{8F6C657C-828C-4039-AC86-0F769090EB41}">
      <dgm:prSet phldrT="[Текст]" custT="1"/>
      <dgm:spPr>
        <a:solidFill>
          <a:schemeClr val="bg1"/>
        </a:solidFill>
        <a:ln>
          <a:solidFill>
            <a:srgbClr val="002060"/>
          </a:solidFill>
        </a:ln>
      </dgm:spPr>
      <dgm:t>
        <a:bodyPr/>
        <a:lstStyle/>
        <a:p>
          <a:pPr algn="l"/>
          <a:r>
            <a:rPr lang="ru-RU" sz="1600" b="0" kern="1200" dirty="0" smtClean="0">
              <a:solidFill>
                <a:srgbClr val="002060"/>
              </a:solidFill>
              <a:effectLst>
                <a:innerShdw blurRad="127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rPr>
            <a:t>Встраивать качество в процесс</a:t>
          </a:r>
          <a:endParaRPr lang="ru-RU" sz="1600" b="0" kern="1200" dirty="0">
            <a:solidFill>
              <a:srgbClr val="002060"/>
            </a:solidFill>
            <a:effectLst>
              <a:innerShdw blurRad="12700" dist="50800" dir="13500000">
                <a:prstClr val="black">
                  <a:alpha val="50000"/>
                </a:prstClr>
              </a:innerShdw>
            </a:effectLst>
            <a:latin typeface="+mj-lt"/>
            <a:ea typeface="+mj-ea"/>
            <a:cs typeface="+mj-cs"/>
          </a:endParaRPr>
        </a:p>
      </dgm:t>
    </dgm:pt>
    <dgm:pt modelId="{54D85861-F832-4FAB-A7DB-2169ADF84B64}" type="parTrans" cxnId="{771D30E9-06B6-41AE-ABBB-307C21D00A3D}">
      <dgm:prSet/>
      <dgm:spPr/>
      <dgm:t>
        <a:bodyPr/>
        <a:lstStyle/>
        <a:p>
          <a:pPr algn="l"/>
          <a:endParaRPr lang="ru-RU" sz="1100">
            <a:latin typeface="+mn-lt"/>
          </a:endParaRPr>
        </a:p>
      </dgm:t>
    </dgm:pt>
    <dgm:pt modelId="{266330B3-E84F-48FA-8D60-292AD2E294BD}" type="sibTrans" cxnId="{771D30E9-06B6-41AE-ABBB-307C21D00A3D}">
      <dgm:prSet/>
      <dgm:spPr/>
      <dgm:t>
        <a:bodyPr/>
        <a:lstStyle/>
        <a:p>
          <a:pPr algn="l"/>
          <a:endParaRPr lang="ru-RU" sz="1100">
            <a:latin typeface="+mn-lt"/>
          </a:endParaRPr>
        </a:p>
      </dgm:t>
    </dgm:pt>
    <dgm:pt modelId="{5BD5E85D-14D6-40DB-820A-F3C9C90F3781}">
      <dgm:prSet phldrT="[Текст]" custT="1"/>
      <dgm:spPr>
        <a:solidFill>
          <a:schemeClr val="bg1"/>
        </a:solidFill>
        <a:ln>
          <a:solidFill>
            <a:srgbClr val="002060"/>
          </a:solidFill>
        </a:ln>
      </dgm:spPr>
      <dgm:t>
        <a:bodyPr/>
        <a:lstStyle/>
        <a:p>
          <a:pPr algn="l"/>
          <a:r>
            <a:rPr lang="ru-RU" sz="1600" b="0" kern="1200" dirty="0" smtClean="0">
              <a:solidFill>
                <a:srgbClr val="002060"/>
              </a:solidFill>
              <a:effectLst>
                <a:innerShdw blurRad="127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rPr>
            <a:t>Выстраивать поток создания ценности </a:t>
          </a:r>
          <a:endParaRPr lang="ru-RU" sz="1600" b="0" kern="1200" dirty="0">
            <a:solidFill>
              <a:srgbClr val="002060"/>
            </a:solidFill>
            <a:effectLst>
              <a:innerShdw blurRad="12700" dist="50800" dir="13500000">
                <a:prstClr val="black">
                  <a:alpha val="50000"/>
                </a:prstClr>
              </a:innerShdw>
            </a:effectLst>
            <a:latin typeface="+mj-lt"/>
            <a:ea typeface="+mj-ea"/>
            <a:cs typeface="+mj-cs"/>
          </a:endParaRPr>
        </a:p>
      </dgm:t>
    </dgm:pt>
    <dgm:pt modelId="{F7B6A574-6200-4316-B76C-F2BC0C0846EA}" type="parTrans" cxnId="{C2B6BBB2-646F-4F9C-9E1E-D1BED63B48B1}">
      <dgm:prSet/>
      <dgm:spPr/>
      <dgm:t>
        <a:bodyPr/>
        <a:lstStyle/>
        <a:p>
          <a:pPr algn="l"/>
          <a:endParaRPr lang="ru-RU" sz="1100">
            <a:latin typeface="+mn-lt"/>
          </a:endParaRPr>
        </a:p>
      </dgm:t>
    </dgm:pt>
    <dgm:pt modelId="{DF726028-A089-4479-8C56-8FE1DBD11E8F}" type="sibTrans" cxnId="{C2B6BBB2-646F-4F9C-9E1E-D1BED63B48B1}">
      <dgm:prSet/>
      <dgm:spPr/>
      <dgm:t>
        <a:bodyPr/>
        <a:lstStyle/>
        <a:p>
          <a:pPr algn="l"/>
          <a:endParaRPr lang="ru-RU" sz="1100">
            <a:latin typeface="+mn-lt"/>
          </a:endParaRPr>
        </a:p>
      </dgm:t>
    </dgm:pt>
    <dgm:pt modelId="{74F664A0-81EF-4F66-8A65-4C595BC83EC2}">
      <dgm:prSet phldrT="[Текст]" custT="1"/>
      <dgm:spPr>
        <a:solidFill>
          <a:schemeClr val="bg1"/>
        </a:solidFill>
        <a:ln>
          <a:solidFill>
            <a:srgbClr val="002060"/>
          </a:solidFill>
        </a:ln>
      </dgm:spPr>
      <dgm:t>
        <a:bodyPr/>
        <a:lstStyle/>
        <a:p>
          <a:pPr algn="l"/>
          <a:r>
            <a:rPr lang="ru-RU" sz="1600" b="0" kern="1200" dirty="0" smtClean="0">
              <a:solidFill>
                <a:srgbClr val="002060"/>
              </a:solidFill>
              <a:effectLst>
                <a:innerShdw blurRad="127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rPr>
            <a:t>Быть примером для коллег</a:t>
          </a:r>
          <a:endParaRPr lang="ru-RU" sz="1600" b="0" kern="1200" dirty="0">
            <a:solidFill>
              <a:srgbClr val="002060"/>
            </a:solidFill>
            <a:effectLst>
              <a:innerShdw blurRad="12700" dist="50800" dir="13500000">
                <a:prstClr val="black">
                  <a:alpha val="50000"/>
                </a:prstClr>
              </a:innerShdw>
            </a:effectLst>
            <a:latin typeface="+mj-lt"/>
            <a:ea typeface="+mj-ea"/>
            <a:cs typeface="+mj-cs"/>
          </a:endParaRPr>
        </a:p>
      </dgm:t>
    </dgm:pt>
    <dgm:pt modelId="{4DDEEF92-923B-41C5-A25F-276B6E1A366E}" type="parTrans" cxnId="{06BC7893-54F5-4B05-9AC3-B55D2F57F041}">
      <dgm:prSet/>
      <dgm:spPr/>
      <dgm:t>
        <a:bodyPr/>
        <a:lstStyle/>
        <a:p>
          <a:endParaRPr lang="ru-RU" sz="1200"/>
        </a:p>
      </dgm:t>
    </dgm:pt>
    <dgm:pt modelId="{17F19225-64BC-4519-8F40-4ECAAB5744BB}" type="sibTrans" cxnId="{06BC7893-54F5-4B05-9AC3-B55D2F57F041}">
      <dgm:prSet/>
      <dgm:spPr/>
      <dgm:t>
        <a:bodyPr/>
        <a:lstStyle/>
        <a:p>
          <a:endParaRPr lang="ru-RU" sz="1200"/>
        </a:p>
      </dgm:t>
    </dgm:pt>
    <dgm:pt modelId="{FDFE4DD1-A6B0-4787-8AC5-E7A0FB7D7972}" type="pres">
      <dgm:prSet presAssocID="{9B4A5940-F23B-4D81-A831-314039044B1A}" presName="linearFlow" presStyleCnt="0">
        <dgm:presLayoutVars>
          <dgm:dir/>
          <dgm:resizeHandles val="exact"/>
        </dgm:presLayoutVars>
      </dgm:prSet>
      <dgm:spPr/>
    </dgm:pt>
    <dgm:pt modelId="{A1E1FDC9-B111-40E5-B252-6B02393B9630}" type="pres">
      <dgm:prSet presAssocID="{41E6577B-DF14-44DF-98FC-548BBC7A4B18}" presName="composite" presStyleCnt="0"/>
      <dgm:spPr/>
    </dgm:pt>
    <dgm:pt modelId="{D966E52A-468E-4B66-9B75-C565E874EA08}" type="pres">
      <dgm:prSet presAssocID="{41E6577B-DF14-44DF-98FC-548BBC7A4B18}" presName="imgShp" presStyleLbl="fgImgPlace1" presStyleIdx="0" presStyleCnt="5" custScaleX="100002" custScaleY="100002"/>
      <dgm:spPr>
        <a:solidFill>
          <a:schemeClr val="bg1"/>
        </a:solidFill>
        <a:ln>
          <a:solidFill>
            <a:srgbClr val="002060"/>
          </a:solidFill>
        </a:ln>
      </dgm:spPr>
    </dgm:pt>
    <dgm:pt modelId="{A5EF6282-5DBF-4FE1-BE30-A7571C4FB4AA}" type="pres">
      <dgm:prSet presAssocID="{41E6577B-DF14-44DF-98FC-548BBC7A4B18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2DBB51C-77B6-427B-BBD7-B2361B6905AB}" type="pres">
      <dgm:prSet presAssocID="{C9341485-A2EA-4B06-83C6-6BD9FCD35599}" presName="spacing" presStyleCnt="0"/>
      <dgm:spPr/>
    </dgm:pt>
    <dgm:pt modelId="{A5007CA6-78D4-4CF1-BA9B-92CDEB2CB504}" type="pres">
      <dgm:prSet presAssocID="{5C18605C-36BD-4E34-879D-97705298F380}" presName="composite" presStyleCnt="0"/>
      <dgm:spPr/>
    </dgm:pt>
    <dgm:pt modelId="{35DF7A29-9F5E-4D8B-9B3B-071588F237BF}" type="pres">
      <dgm:prSet presAssocID="{5C18605C-36BD-4E34-879D-97705298F380}" presName="imgShp" presStyleLbl="fgImgPlace1" presStyleIdx="1" presStyleCnt="5"/>
      <dgm:spPr>
        <a:solidFill>
          <a:schemeClr val="bg1"/>
        </a:solidFill>
        <a:ln>
          <a:solidFill>
            <a:srgbClr val="002060"/>
          </a:solidFill>
        </a:ln>
      </dgm:spPr>
      <dgm:t>
        <a:bodyPr/>
        <a:lstStyle/>
        <a:p>
          <a:endParaRPr lang="ru-RU"/>
        </a:p>
      </dgm:t>
    </dgm:pt>
    <dgm:pt modelId="{F6BBC7E5-7E33-4968-8A87-ECDEABDB764D}" type="pres">
      <dgm:prSet presAssocID="{5C18605C-36BD-4E34-879D-97705298F380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1168A0-A8E3-4269-9FF2-F4A8D98340CE}" type="pres">
      <dgm:prSet presAssocID="{FEA8AB1D-3435-41DB-9DF6-EA495D78053A}" presName="spacing" presStyleCnt="0"/>
      <dgm:spPr/>
    </dgm:pt>
    <dgm:pt modelId="{F7069BC2-68C6-4A99-B6D6-2746E79BE7AE}" type="pres">
      <dgm:prSet presAssocID="{8F6C657C-828C-4039-AC86-0F769090EB41}" presName="composite" presStyleCnt="0"/>
      <dgm:spPr/>
    </dgm:pt>
    <dgm:pt modelId="{51F22DC3-59C9-4D23-9E2A-CF2AEEDE72A8}" type="pres">
      <dgm:prSet presAssocID="{8F6C657C-828C-4039-AC86-0F769090EB41}" presName="imgShp" presStyleLbl="fgImgPlace1" presStyleIdx="2" presStyleCnt="5"/>
      <dgm:spPr>
        <a:solidFill>
          <a:schemeClr val="bg1"/>
        </a:solidFill>
        <a:ln>
          <a:solidFill>
            <a:srgbClr val="002060"/>
          </a:solidFill>
        </a:ln>
      </dgm:spPr>
    </dgm:pt>
    <dgm:pt modelId="{5B7C9D57-F5BE-4CCC-9C20-D05926EB9C1D}" type="pres">
      <dgm:prSet presAssocID="{8F6C657C-828C-4039-AC86-0F769090EB41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0E659F4-475D-43C5-B6C5-41E6A68FC7D6}" type="pres">
      <dgm:prSet presAssocID="{266330B3-E84F-48FA-8D60-292AD2E294BD}" presName="spacing" presStyleCnt="0"/>
      <dgm:spPr/>
    </dgm:pt>
    <dgm:pt modelId="{1512D8F2-7CD9-4AC6-BEBC-31988531060A}" type="pres">
      <dgm:prSet presAssocID="{5BD5E85D-14D6-40DB-820A-F3C9C90F3781}" presName="composite" presStyleCnt="0"/>
      <dgm:spPr/>
    </dgm:pt>
    <dgm:pt modelId="{D893AC65-6699-4EA7-A4B3-D3CF1683F820}" type="pres">
      <dgm:prSet presAssocID="{5BD5E85D-14D6-40DB-820A-F3C9C90F3781}" presName="imgShp" presStyleLbl="fgImgPlace1" presStyleIdx="3" presStyleCnt="5"/>
      <dgm:spPr>
        <a:solidFill>
          <a:schemeClr val="bg1"/>
        </a:solidFill>
        <a:ln>
          <a:solidFill>
            <a:srgbClr val="002060"/>
          </a:solidFill>
        </a:ln>
      </dgm:spPr>
    </dgm:pt>
    <dgm:pt modelId="{204FE3DA-D5EF-4CAE-8833-F9E11C12E23A}" type="pres">
      <dgm:prSet presAssocID="{5BD5E85D-14D6-40DB-820A-F3C9C90F3781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D9CEF98-7804-4BEB-B31D-CFF921834C25}" type="pres">
      <dgm:prSet presAssocID="{DF726028-A089-4479-8C56-8FE1DBD11E8F}" presName="spacing" presStyleCnt="0"/>
      <dgm:spPr/>
    </dgm:pt>
    <dgm:pt modelId="{553E91AB-7071-4D39-9103-63E04F3D7AC9}" type="pres">
      <dgm:prSet presAssocID="{74F664A0-81EF-4F66-8A65-4C595BC83EC2}" presName="composite" presStyleCnt="0"/>
      <dgm:spPr/>
    </dgm:pt>
    <dgm:pt modelId="{801C2450-5962-4849-AF9C-14C5D351E58F}" type="pres">
      <dgm:prSet presAssocID="{74F664A0-81EF-4F66-8A65-4C595BC83EC2}" presName="imgShp" presStyleLbl="fgImgPlace1" presStyleIdx="4" presStyleCnt="5"/>
      <dgm:spPr>
        <a:solidFill>
          <a:schemeClr val="bg1"/>
        </a:solidFill>
        <a:ln>
          <a:solidFill>
            <a:srgbClr val="002060"/>
          </a:solidFill>
        </a:ln>
      </dgm:spPr>
    </dgm:pt>
    <dgm:pt modelId="{40AEAB81-3FE0-426C-802C-988D88D9AF26}" type="pres">
      <dgm:prSet presAssocID="{74F664A0-81EF-4F66-8A65-4C595BC83EC2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70027D5-0F95-42B9-84A2-2F93BE53E3F3}" type="presOf" srcId="{5BD5E85D-14D6-40DB-820A-F3C9C90F3781}" destId="{204FE3DA-D5EF-4CAE-8833-F9E11C12E23A}" srcOrd="0" destOrd="0" presId="urn:microsoft.com/office/officeart/2005/8/layout/vList3#1"/>
    <dgm:cxn modelId="{06BC7893-54F5-4B05-9AC3-B55D2F57F041}" srcId="{9B4A5940-F23B-4D81-A831-314039044B1A}" destId="{74F664A0-81EF-4F66-8A65-4C595BC83EC2}" srcOrd="4" destOrd="0" parTransId="{4DDEEF92-923B-41C5-A25F-276B6E1A366E}" sibTransId="{17F19225-64BC-4519-8F40-4ECAAB5744BB}"/>
    <dgm:cxn modelId="{C2B6BBB2-646F-4F9C-9E1E-D1BED63B48B1}" srcId="{9B4A5940-F23B-4D81-A831-314039044B1A}" destId="{5BD5E85D-14D6-40DB-820A-F3C9C90F3781}" srcOrd="3" destOrd="0" parTransId="{F7B6A574-6200-4316-B76C-F2BC0C0846EA}" sibTransId="{DF726028-A089-4479-8C56-8FE1DBD11E8F}"/>
    <dgm:cxn modelId="{038934CD-15B9-4ED7-9BE1-F24C50DB3C3A}" srcId="{9B4A5940-F23B-4D81-A831-314039044B1A}" destId="{5C18605C-36BD-4E34-879D-97705298F380}" srcOrd="1" destOrd="0" parTransId="{3F6247EB-138A-4944-B13E-406DFA4D2286}" sibTransId="{FEA8AB1D-3435-41DB-9DF6-EA495D78053A}"/>
    <dgm:cxn modelId="{9E616A24-6CE0-4C12-A6E4-8C87CDDC09A9}" type="presOf" srcId="{8F6C657C-828C-4039-AC86-0F769090EB41}" destId="{5B7C9D57-F5BE-4CCC-9C20-D05926EB9C1D}" srcOrd="0" destOrd="0" presId="urn:microsoft.com/office/officeart/2005/8/layout/vList3#1"/>
    <dgm:cxn modelId="{2C68AE88-C4DC-40FB-94D4-DC492D714D14}" type="presOf" srcId="{9B4A5940-F23B-4D81-A831-314039044B1A}" destId="{FDFE4DD1-A6B0-4787-8AC5-E7A0FB7D7972}" srcOrd="0" destOrd="0" presId="urn:microsoft.com/office/officeart/2005/8/layout/vList3#1"/>
    <dgm:cxn modelId="{441A56A7-7FD5-4FAB-814D-1578957CF875}" type="presOf" srcId="{41E6577B-DF14-44DF-98FC-548BBC7A4B18}" destId="{A5EF6282-5DBF-4FE1-BE30-A7571C4FB4AA}" srcOrd="0" destOrd="0" presId="urn:microsoft.com/office/officeart/2005/8/layout/vList3#1"/>
    <dgm:cxn modelId="{B8E2340D-334D-4635-B8DE-030E3F46CF30}" type="presOf" srcId="{5C18605C-36BD-4E34-879D-97705298F380}" destId="{F6BBC7E5-7E33-4968-8A87-ECDEABDB764D}" srcOrd="0" destOrd="0" presId="urn:microsoft.com/office/officeart/2005/8/layout/vList3#1"/>
    <dgm:cxn modelId="{771D30E9-06B6-41AE-ABBB-307C21D00A3D}" srcId="{9B4A5940-F23B-4D81-A831-314039044B1A}" destId="{8F6C657C-828C-4039-AC86-0F769090EB41}" srcOrd="2" destOrd="0" parTransId="{54D85861-F832-4FAB-A7DB-2169ADF84B64}" sibTransId="{266330B3-E84F-48FA-8D60-292AD2E294BD}"/>
    <dgm:cxn modelId="{00DD40DF-0B2A-4E09-A9AD-0888BE6FD0BE}" srcId="{9B4A5940-F23B-4D81-A831-314039044B1A}" destId="{41E6577B-DF14-44DF-98FC-548BBC7A4B18}" srcOrd="0" destOrd="0" parTransId="{0EC77A04-AAFE-431B-8B39-0A29B1ECA785}" sibTransId="{C9341485-A2EA-4B06-83C6-6BD9FCD35599}"/>
    <dgm:cxn modelId="{E0FCDA5E-6A0E-4409-8C47-067E0B429EE3}" type="presOf" srcId="{74F664A0-81EF-4F66-8A65-4C595BC83EC2}" destId="{40AEAB81-3FE0-426C-802C-988D88D9AF26}" srcOrd="0" destOrd="0" presId="urn:microsoft.com/office/officeart/2005/8/layout/vList3#1"/>
    <dgm:cxn modelId="{E14C3408-235D-43DC-99A8-3355FA382639}" type="presParOf" srcId="{FDFE4DD1-A6B0-4787-8AC5-E7A0FB7D7972}" destId="{A1E1FDC9-B111-40E5-B252-6B02393B9630}" srcOrd="0" destOrd="0" presId="urn:microsoft.com/office/officeart/2005/8/layout/vList3#1"/>
    <dgm:cxn modelId="{9B41C70F-1656-4D02-9052-5B5C073AEBC6}" type="presParOf" srcId="{A1E1FDC9-B111-40E5-B252-6B02393B9630}" destId="{D966E52A-468E-4B66-9B75-C565E874EA08}" srcOrd="0" destOrd="0" presId="urn:microsoft.com/office/officeart/2005/8/layout/vList3#1"/>
    <dgm:cxn modelId="{6B94651C-B205-410C-BB40-E6612A49AD4D}" type="presParOf" srcId="{A1E1FDC9-B111-40E5-B252-6B02393B9630}" destId="{A5EF6282-5DBF-4FE1-BE30-A7571C4FB4AA}" srcOrd="1" destOrd="0" presId="urn:microsoft.com/office/officeart/2005/8/layout/vList3#1"/>
    <dgm:cxn modelId="{02E6DEB5-76C9-4802-8DCD-2113018EE0AC}" type="presParOf" srcId="{FDFE4DD1-A6B0-4787-8AC5-E7A0FB7D7972}" destId="{A2DBB51C-77B6-427B-BBD7-B2361B6905AB}" srcOrd="1" destOrd="0" presId="urn:microsoft.com/office/officeart/2005/8/layout/vList3#1"/>
    <dgm:cxn modelId="{E86F7B7B-8A70-4D62-B540-07B65A548C10}" type="presParOf" srcId="{FDFE4DD1-A6B0-4787-8AC5-E7A0FB7D7972}" destId="{A5007CA6-78D4-4CF1-BA9B-92CDEB2CB504}" srcOrd="2" destOrd="0" presId="urn:microsoft.com/office/officeart/2005/8/layout/vList3#1"/>
    <dgm:cxn modelId="{3A5C157D-869A-43CB-A32C-E0256B2EF346}" type="presParOf" srcId="{A5007CA6-78D4-4CF1-BA9B-92CDEB2CB504}" destId="{35DF7A29-9F5E-4D8B-9B3B-071588F237BF}" srcOrd="0" destOrd="0" presId="urn:microsoft.com/office/officeart/2005/8/layout/vList3#1"/>
    <dgm:cxn modelId="{7D66FF88-B79D-47EE-8D76-9D69D10ABD3D}" type="presParOf" srcId="{A5007CA6-78D4-4CF1-BA9B-92CDEB2CB504}" destId="{F6BBC7E5-7E33-4968-8A87-ECDEABDB764D}" srcOrd="1" destOrd="0" presId="urn:microsoft.com/office/officeart/2005/8/layout/vList3#1"/>
    <dgm:cxn modelId="{F2A1D63B-7854-4FBF-BF54-A6011B0CD8EF}" type="presParOf" srcId="{FDFE4DD1-A6B0-4787-8AC5-E7A0FB7D7972}" destId="{B61168A0-A8E3-4269-9FF2-F4A8D98340CE}" srcOrd="3" destOrd="0" presId="urn:microsoft.com/office/officeart/2005/8/layout/vList3#1"/>
    <dgm:cxn modelId="{112A9DE7-51A1-421C-BDA3-9D7A62BC8F83}" type="presParOf" srcId="{FDFE4DD1-A6B0-4787-8AC5-E7A0FB7D7972}" destId="{F7069BC2-68C6-4A99-B6D6-2746E79BE7AE}" srcOrd="4" destOrd="0" presId="urn:microsoft.com/office/officeart/2005/8/layout/vList3#1"/>
    <dgm:cxn modelId="{45C01DE7-BDE8-4CE9-904B-C14FDFE85AB8}" type="presParOf" srcId="{F7069BC2-68C6-4A99-B6D6-2746E79BE7AE}" destId="{51F22DC3-59C9-4D23-9E2A-CF2AEEDE72A8}" srcOrd="0" destOrd="0" presId="urn:microsoft.com/office/officeart/2005/8/layout/vList3#1"/>
    <dgm:cxn modelId="{92AA185C-FAE9-438C-92A7-CBDE80294D43}" type="presParOf" srcId="{F7069BC2-68C6-4A99-B6D6-2746E79BE7AE}" destId="{5B7C9D57-F5BE-4CCC-9C20-D05926EB9C1D}" srcOrd="1" destOrd="0" presId="urn:microsoft.com/office/officeart/2005/8/layout/vList3#1"/>
    <dgm:cxn modelId="{5CBB807D-394E-42A9-AE49-D2A5A44B21A4}" type="presParOf" srcId="{FDFE4DD1-A6B0-4787-8AC5-E7A0FB7D7972}" destId="{D0E659F4-475D-43C5-B6C5-41E6A68FC7D6}" srcOrd="5" destOrd="0" presId="urn:microsoft.com/office/officeart/2005/8/layout/vList3#1"/>
    <dgm:cxn modelId="{35837976-67B3-48D7-BA56-85D59D004822}" type="presParOf" srcId="{FDFE4DD1-A6B0-4787-8AC5-E7A0FB7D7972}" destId="{1512D8F2-7CD9-4AC6-BEBC-31988531060A}" srcOrd="6" destOrd="0" presId="urn:microsoft.com/office/officeart/2005/8/layout/vList3#1"/>
    <dgm:cxn modelId="{E31D6D0D-48D8-44B1-A3EC-CF96A60A2A48}" type="presParOf" srcId="{1512D8F2-7CD9-4AC6-BEBC-31988531060A}" destId="{D893AC65-6699-4EA7-A4B3-D3CF1683F820}" srcOrd="0" destOrd="0" presId="urn:microsoft.com/office/officeart/2005/8/layout/vList3#1"/>
    <dgm:cxn modelId="{E0A0CB05-ED41-4F02-A56A-4269975409F3}" type="presParOf" srcId="{1512D8F2-7CD9-4AC6-BEBC-31988531060A}" destId="{204FE3DA-D5EF-4CAE-8833-F9E11C12E23A}" srcOrd="1" destOrd="0" presId="urn:microsoft.com/office/officeart/2005/8/layout/vList3#1"/>
    <dgm:cxn modelId="{E7DC54F0-409A-4966-8B82-A1A64BB8F428}" type="presParOf" srcId="{FDFE4DD1-A6B0-4787-8AC5-E7A0FB7D7972}" destId="{7D9CEF98-7804-4BEB-B31D-CFF921834C25}" srcOrd="7" destOrd="0" presId="urn:microsoft.com/office/officeart/2005/8/layout/vList3#1"/>
    <dgm:cxn modelId="{D4E15621-5CAA-48DA-A051-937A6C0C3FAD}" type="presParOf" srcId="{FDFE4DD1-A6B0-4787-8AC5-E7A0FB7D7972}" destId="{553E91AB-7071-4D39-9103-63E04F3D7AC9}" srcOrd="8" destOrd="0" presId="urn:microsoft.com/office/officeart/2005/8/layout/vList3#1"/>
    <dgm:cxn modelId="{E53001DF-6A24-4C0F-9859-2F055ADA0F67}" type="presParOf" srcId="{553E91AB-7071-4D39-9103-63E04F3D7AC9}" destId="{801C2450-5962-4849-AF9C-14C5D351E58F}" srcOrd="0" destOrd="0" presId="urn:microsoft.com/office/officeart/2005/8/layout/vList3#1"/>
    <dgm:cxn modelId="{92278351-F73F-4A3D-848A-51353C0939F0}" type="presParOf" srcId="{553E91AB-7071-4D39-9103-63E04F3D7AC9}" destId="{40AEAB81-3FE0-426C-802C-988D88D9AF26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EF6282-5DBF-4FE1-BE30-A7571C4FB4AA}">
      <dsp:nvSpPr>
        <dsp:cNvPr id="0" name=""/>
        <dsp:cNvSpPr/>
      </dsp:nvSpPr>
      <dsp:spPr>
        <a:xfrm rot="10800000">
          <a:off x="915854" y="1729"/>
          <a:ext cx="3106661" cy="533387"/>
        </a:xfrm>
        <a:prstGeom prst="homePlate">
          <a:avLst/>
        </a:prstGeom>
        <a:solidFill>
          <a:schemeClr val="bg1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5209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>
              <a:solidFill>
                <a:srgbClr val="002060"/>
              </a:solidFill>
              <a:effectLst>
                <a:innerShdw blurRad="127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rPr>
            <a:t>Быть внимательным к требованиям заказчика</a:t>
          </a:r>
          <a:endParaRPr lang="ru-RU" sz="1600" b="0" kern="1200" dirty="0">
            <a:solidFill>
              <a:srgbClr val="002060"/>
            </a:solidFill>
            <a:effectLst>
              <a:innerShdw blurRad="12700" dist="50800" dir="13500000">
                <a:prstClr val="black">
                  <a:alpha val="50000"/>
                </a:prstClr>
              </a:innerShdw>
            </a:effectLst>
            <a:latin typeface="+mj-lt"/>
            <a:ea typeface="+mj-ea"/>
            <a:cs typeface="+mj-cs"/>
          </a:endParaRPr>
        </a:p>
      </dsp:txBody>
      <dsp:txXfrm rot="10800000">
        <a:off x="1049201" y="1729"/>
        <a:ext cx="2973314" cy="533387"/>
      </dsp:txXfrm>
    </dsp:sp>
    <dsp:sp modelId="{D966E52A-468E-4B66-9B75-C565E874EA08}">
      <dsp:nvSpPr>
        <dsp:cNvPr id="0" name=""/>
        <dsp:cNvSpPr/>
      </dsp:nvSpPr>
      <dsp:spPr>
        <a:xfrm>
          <a:off x="649155" y="1724"/>
          <a:ext cx="533397" cy="533397"/>
        </a:xfrm>
        <a:prstGeom prst="ellipse">
          <a:avLst/>
        </a:prstGeom>
        <a:solidFill>
          <a:schemeClr val="bg1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BBC7E5-7E33-4968-8A87-ECDEABDB764D}">
      <dsp:nvSpPr>
        <dsp:cNvPr id="0" name=""/>
        <dsp:cNvSpPr/>
      </dsp:nvSpPr>
      <dsp:spPr>
        <a:xfrm rot="10800000">
          <a:off x="915851" y="694342"/>
          <a:ext cx="3106661" cy="533387"/>
        </a:xfrm>
        <a:prstGeom prst="homePlate">
          <a:avLst/>
        </a:prstGeom>
        <a:solidFill>
          <a:schemeClr val="bg1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5209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>
              <a:solidFill>
                <a:srgbClr val="002060"/>
              </a:solidFill>
              <a:effectLst>
                <a:innerShdw blurRad="127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rPr>
            <a:t>Решать проблемы в месте их возникновения </a:t>
          </a:r>
          <a:endParaRPr lang="ru-RU" sz="1600" b="0" kern="1200" dirty="0">
            <a:solidFill>
              <a:srgbClr val="002060"/>
            </a:solidFill>
            <a:effectLst>
              <a:innerShdw blurRad="12700" dist="50800" dir="13500000">
                <a:prstClr val="black">
                  <a:alpha val="50000"/>
                </a:prstClr>
              </a:innerShdw>
            </a:effectLst>
            <a:latin typeface="+mj-lt"/>
            <a:ea typeface="+mj-ea"/>
            <a:cs typeface="+mj-cs"/>
          </a:endParaRPr>
        </a:p>
      </dsp:txBody>
      <dsp:txXfrm rot="10800000">
        <a:off x="1049198" y="694342"/>
        <a:ext cx="2973314" cy="533387"/>
      </dsp:txXfrm>
    </dsp:sp>
    <dsp:sp modelId="{35DF7A29-9F5E-4D8B-9B3B-071588F237BF}">
      <dsp:nvSpPr>
        <dsp:cNvPr id="0" name=""/>
        <dsp:cNvSpPr/>
      </dsp:nvSpPr>
      <dsp:spPr>
        <a:xfrm>
          <a:off x="649158" y="694342"/>
          <a:ext cx="533387" cy="533387"/>
        </a:xfrm>
        <a:prstGeom prst="ellipse">
          <a:avLst/>
        </a:prstGeom>
        <a:solidFill>
          <a:schemeClr val="bg1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B7C9D57-F5BE-4CCC-9C20-D05926EB9C1D}">
      <dsp:nvSpPr>
        <dsp:cNvPr id="0" name=""/>
        <dsp:cNvSpPr/>
      </dsp:nvSpPr>
      <dsp:spPr>
        <a:xfrm rot="10800000">
          <a:off x="915851" y="1386949"/>
          <a:ext cx="3106661" cy="533387"/>
        </a:xfrm>
        <a:prstGeom prst="homePlate">
          <a:avLst/>
        </a:prstGeom>
        <a:solidFill>
          <a:schemeClr val="bg1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5209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>
              <a:solidFill>
                <a:srgbClr val="002060"/>
              </a:solidFill>
              <a:effectLst>
                <a:innerShdw blurRad="127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rPr>
            <a:t>Встраивать качество в процесс</a:t>
          </a:r>
          <a:endParaRPr lang="ru-RU" sz="1600" b="0" kern="1200" dirty="0">
            <a:solidFill>
              <a:srgbClr val="002060"/>
            </a:solidFill>
            <a:effectLst>
              <a:innerShdw blurRad="12700" dist="50800" dir="13500000">
                <a:prstClr val="black">
                  <a:alpha val="50000"/>
                </a:prstClr>
              </a:innerShdw>
            </a:effectLst>
            <a:latin typeface="+mj-lt"/>
            <a:ea typeface="+mj-ea"/>
            <a:cs typeface="+mj-cs"/>
          </a:endParaRPr>
        </a:p>
      </dsp:txBody>
      <dsp:txXfrm rot="10800000">
        <a:off x="1049198" y="1386949"/>
        <a:ext cx="2973314" cy="533387"/>
      </dsp:txXfrm>
    </dsp:sp>
    <dsp:sp modelId="{51F22DC3-59C9-4D23-9E2A-CF2AEEDE72A8}">
      <dsp:nvSpPr>
        <dsp:cNvPr id="0" name=""/>
        <dsp:cNvSpPr/>
      </dsp:nvSpPr>
      <dsp:spPr>
        <a:xfrm>
          <a:off x="649158" y="1386949"/>
          <a:ext cx="533387" cy="533387"/>
        </a:xfrm>
        <a:prstGeom prst="ellipse">
          <a:avLst/>
        </a:prstGeom>
        <a:solidFill>
          <a:schemeClr val="bg1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04FE3DA-D5EF-4CAE-8833-F9E11C12E23A}">
      <dsp:nvSpPr>
        <dsp:cNvPr id="0" name=""/>
        <dsp:cNvSpPr/>
      </dsp:nvSpPr>
      <dsp:spPr>
        <a:xfrm rot="10800000">
          <a:off x="915851" y="2079556"/>
          <a:ext cx="3106661" cy="533387"/>
        </a:xfrm>
        <a:prstGeom prst="homePlate">
          <a:avLst/>
        </a:prstGeom>
        <a:solidFill>
          <a:schemeClr val="bg1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5209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>
              <a:solidFill>
                <a:srgbClr val="002060"/>
              </a:solidFill>
              <a:effectLst>
                <a:innerShdw blurRad="127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rPr>
            <a:t>Выстраивать поток создания ценности </a:t>
          </a:r>
          <a:endParaRPr lang="ru-RU" sz="1600" b="0" kern="1200" dirty="0">
            <a:solidFill>
              <a:srgbClr val="002060"/>
            </a:solidFill>
            <a:effectLst>
              <a:innerShdw blurRad="12700" dist="50800" dir="13500000">
                <a:prstClr val="black">
                  <a:alpha val="50000"/>
                </a:prstClr>
              </a:innerShdw>
            </a:effectLst>
            <a:latin typeface="+mj-lt"/>
            <a:ea typeface="+mj-ea"/>
            <a:cs typeface="+mj-cs"/>
          </a:endParaRPr>
        </a:p>
      </dsp:txBody>
      <dsp:txXfrm rot="10800000">
        <a:off x="1049198" y="2079556"/>
        <a:ext cx="2973314" cy="533387"/>
      </dsp:txXfrm>
    </dsp:sp>
    <dsp:sp modelId="{D893AC65-6699-4EA7-A4B3-D3CF1683F820}">
      <dsp:nvSpPr>
        <dsp:cNvPr id="0" name=""/>
        <dsp:cNvSpPr/>
      </dsp:nvSpPr>
      <dsp:spPr>
        <a:xfrm>
          <a:off x="649158" y="2079556"/>
          <a:ext cx="533387" cy="533387"/>
        </a:xfrm>
        <a:prstGeom prst="ellipse">
          <a:avLst/>
        </a:prstGeom>
        <a:solidFill>
          <a:schemeClr val="bg1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AEAB81-3FE0-426C-802C-988D88D9AF26}">
      <dsp:nvSpPr>
        <dsp:cNvPr id="0" name=""/>
        <dsp:cNvSpPr/>
      </dsp:nvSpPr>
      <dsp:spPr>
        <a:xfrm rot="10800000">
          <a:off x="915851" y="2772163"/>
          <a:ext cx="3106661" cy="533387"/>
        </a:xfrm>
        <a:prstGeom prst="homePlate">
          <a:avLst/>
        </a:prstGeom>
        <a:solidFill>
          <a:schemeClr val="bg1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5209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>
              <a:solidFill>
                <a:srgbClr val="002060"/>
              </a:solidFill>
              <a:effectLst>
                <a:innerShdw blurRad="12700" dist="50800" dir="13500000">
                  <a:prstClr val="black">
                    <a:alpha val="50000"/>
                  </a:prstClr>
                </a:innerShdw>
              </a:effectLst>
              <a:latin typeface="+mj-lt"/>
              <a:ea typeface="+mj-ea"/>
              <a:cs typeface="+mj-cs"/>
            </a:rPr>
            <a:t>Быть примером для коллег</a:t>
          </a:r>
          <a:endParaRPr lang="ru-RU" sz="1600" b="0" kern="1200" dirty="0">
            <a:solidFill>
              <a:srgbClr val="002060"/>
            </a:solidFill>
            <a:effectLst>
              <a:innerShdw blurRad="12700" dist="50800" dir="13500000">
                <a:prstClr val="black">
                  <a:alpha val="50000"/>
                </a:prstClr>
              </a:innerShdw>
            </a:effectLst>
            <a:latin typeface="+mj-lt"/>
            <a:ea typeface="+mj-ea"/>
            <a:cs typeface="+mj-cs"/>
          </a:endParaRPr>
        </a:p>
      </dsp:txBody>
      <dsp:txXfrm rot="10800000">
        <a:off x="1049198" y="2772163"/>
        <a:ext cx="2973314" cy="533387"/>
      </dsp:txXfrm>
    </dsp:sp>
    <dsp:sp modelId="{801C2450-5962-4849-AF9C-14C5D351E58F}">
      <dsp:nvSpPr>
        <dsp:cNvPr id="0" name=""/>
        <dsp:cNvSpPr/>
      </dsp:nvSpPr>
      <dsp:spPr>
        <a:xfrm>
          <a:off x="649158" y="2772163"/>
          <a:ext cx="533387" cy="533387"/>
        </a:xfrm>
        <a:prstGeom prst="ellipse">
          <a:avLst/>
        </a:prstGeom>
        <a:solidFill>
          <a:schemeClr val="bg1"/>
        </a:solidFill>
        <a:ln w="12700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image" Target="../media/image34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86DCCD-FB14-4FA8-B1C2-D065E82645DF}" type="datetimeFigureOut">
              <a:rPr lang="ru-RU" smtClean="0"/>
              <a:pPr/>
              <a:t>22.09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D96E1-DF61-4A53-9932-3DFD8899BB9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054848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84D8A-822D-488E-8D1C-8C90CBE022BE}" type="datetimeFigureOut">
              <a:rPr lang="ru-RU" smtClean="0"/>
              <a:pPr/>
              <a:t>22.09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4538"/>
            <a:ext cx="66103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F70B7F-3432-4DBE-B821-B38A127FB2D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920220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dirty="0"/>
              <a:t>Концепция </a:t>
            </a:r>
            <a:r>
              <a:rPr lang="ru-RU" sz="1200" b="1" dirty="0" err="1"/>
              <a:t>Lean</a:t>
            </a:r>
            <a:r>
              <a:rPr lang="ru-RU" sz="1200" b="1" dirty="0"/>
              <a:t> </a:t>
            </a:r>
            <a:r>
              <a:rPr lang="ru-RU" sz="1200" b="1" dirty="0" err="1"/>
              <a:t>Manufacturing</a:t>
            </a:r>
            <a:r>
              <a:rPr lang="ru-RU" sz="1200" dirty="0"/>
              <a:t> – «бережливое производство» – набирает все большую популярность в мире. Об этом свидетельствует и тот факт, что ведущие поставщики ERP-систем начинают включать в состав своих решений инструментарий для реализации </a:t>
            </a:r>
            <a:r>
              <a:rPr lang="ru-RU" sz="1200" dirty="0" err="1"/>
              <a:t>Lean</a:t>
            </a:r>
            <a:r>
              <a:rPr lang="ru-RU" sz="1200" dirty="0"/>
              <a:t> </a:t>
            </a:r>
            <a:r>
              <a:rPr lang="ru-RU" sz="1200" dirty="0" err="1"/>
              <a:t>Manufacturing</a:t>
            </a:r>
            <a:r>
              <a:rPr lang="ru-RU" sz="1200" dirty="0"/>
              <a:t>. Так, в новой версии </a:t>
            </a:r>
            <a:r>
              <a:rPr lang="ru-RU" sz="1200" dirty="0" err="1"/>
              <a:t>Oracle</a:t>
            </a:r>
            <a:r>
              <a:rPr lang="ru-RU" sz="1200" dirty="0"/>
              <a:t> JD </a:t>
            </a:r>
            <a:r>
              <a:rPr lang="ru-RU" sz="1200" dirty="0" err="1"/>
              <a:t>Edwards</a:t>
            </a:r>
            <a:r>
              <a:rPr lang="ru-RU" sz="1200" dirty="0"/>
              <a:t> </a:t>
            </a:r>
            <a:r>
              <a:rPr lang="ru-RU" sz="1200" dirty="0" err="1"/>
              <a:t>EnterpriseOne</a:t>
            </a:r>
            <a:r>
              <a:rPr lang="ru-RU" sz="1200" dirty="0"/>
              <a:t> функционал модуля «</a:t>
            </a:r>
            <a:r>
              <a:rPr lang="ru-RU" sz="1200" dirty="0" err="1"/>
              <a:t>Управлениепроизводством</a:t>
            </a:r>
            <a:r>
              <a:rPr lang="ru-RU" sz="1200" dirty="0"/>
              <a:t>» полностью поддерживает концепции «точно в срок» (</a:t>
            </a:r>
            <a:r>
              <a:rPr lang="ru-RU" sz="1200" dirty="0" err="1"/>
              <a:t>Just-In-Time</a:t>
            </a:r>
            <a:r>
              <a:rPr lang="ru-RU" sz="1200" dirty="0"/>
              <a:t> - JIT), «производство на основе спроса» (</a:t>
            </a:r>
            <a:r>
              <a:rPr lang="ru-RU" sz="1200" dirty="0" err="1"/>
              <a:t>Driven</a:t>
            </a:r>
            <a:r>
              <a:rPr lang="ru-RU" sz="1200" dirty="0"/>
              <a:t> </a:t>
            </a:r>
            <a:r>
              <a:rPr lang="ru-RU" sz="1200" dirty="0" err="1"/>
              <a:t>Manufacturing</a:t>
            </a:r>
            <a:r>
              <a:rPr lang="ru-RU" sz="1200" dirty="0"/>
              <a:t>) и </a:t>
            </a:r>
            <a:r>
              <a:rPr lang="ru-RU" sz="1200" dirty="0" err="1"/>
              <a:t>Lean</a:t>
            </a:r>
            <a:r>
              <a:rPr lang="ru-RU" sz="1200" dirty="0"/>
              <a:t> </a:t>
            </a:r>
            <a:r>
              <a:rPr lang="ru-RU" sz="1200" dirty="0" err="1"/>
              <a:t>Manufacturing</a:t>
            </a:r>
            <a:r>
              <a:rPr lang="ru-RU" sz="1200" dirty="0"/>
              <a:t>. Разработчик </a:t>
            </a:r>
            <a:r>
              <a:rPr lang="ru-RU" sz="1200" dirty="0" err="1"/>
              <a:t>Baan</a:t>
            </a:r>
            <a:r>
              <a:rPr lang="ru-RU" sz="1200" dirty="0"/>
              <a:t>, компания SSA </a:t>
            </a:r>
            <a:r>
              <a:rPr lang="ru-RU" sz="1200" dirty="0" err="1"/>
              <a:t>Global</a:t>
            </a:r>
            <a:r>
              <a:rPr lang="ru-RU" sz="1200" dirty="0"/>
              <a:t> пошла еще дальше. В новой версии системы модуль «Производство» включает в себя специальную подсистему SSA </a:t>
            </a:r>
            <a:r>
              <a:rPr lang="ru-RU" sz="1200" dirty="0" err="1"/>
              <a:t>Leanware</a:t>
            </a:r>
            <a:r>
              <a:rPr lang="ru-RU" sz="1200" dirty="0"/>
              <a:t>, которая способствует легкому переходу с традиционных схем производства на ресурсно-оптимизированные. В подсистему включены </a:t>
            </a:r>
            <a:r>
              <a:rPr lang="ru-RU" sz="1200" dirty="0" err="1"/>
              <a:t>Driven</a:t>
            </a:r>
            <a:r>
              <a:rPr lang="ru-RU" sz="1200" dirty="0"/>
              <a:t> </a:t>
            </a:r>
            <a:r>
              <a:rPr lang="ru-RU" sz="1200" dirty="0" err="1"/>
              <a:t>Manufacturing</a:t>
            </a:r>
            <a:r>
              <a:rPr lang="ru-RU" sz="1200" dirty="0"/>
              <a:t> и инструментарий для реализации концепции «</a:t>
            </a:r>
            <a:r>
              <a:rPr lang="ru-RU" sz="1200" dirty="0" err="1"/>
              <a:t>Канбан</a:t>
            </a:r>
            <a:r>
              <a:rPr lang="ru-RU" sz="1200" dirty="0"/>
              <a:t>».</a:t>
            </a:r>
          </a:p>
          <a:p>
            <a:r>
              <a:rPr lang="ru-RU" sz="1200" b="1" dirty="0"/>
              <a:t>Скупой не платит дважды</a:t>
            </a:r>
            <a:endParaRPr lang="ru-RU" sz="1200" dirty="0"/>
          </a:p>
          <a:p>
            <a:r>
              <a:rPr lang="ru-RU" sz="1200" dirty="0"/>
              <a:t>Итак, что же такое «бережливое производство»? </a:t>
            </a:r>
            <a:r>
              <a:rPr lang="ru-RU" sz="1200" u="sng" dirty="0"/>
              <a:t>Концепция </a:t>
            </a:r>
            <a:r>
              <a:rPr lang="ru-RU" sz="1200" b="1" u="sng" dirty="0" err="1"/>
              <a:t>Lean</a:t>
            </a:r>
            <a:r>
              <a:rPr lang="ru-RU" sz="1200" b="1" u="sng" dirty="0"/>
              <a:t> </a:t>
            </a:r>
            <a:r>
              <a:rPr lang="ru-RU" sz="1200" b="1" u="sng" dirty="0" err="1"/>
              <a:t>Manufacturing</a:t>
            </a:r>
            <a:r>
              <a:rPr lang="ru-RU" sz="1200" u="sng" dirty="0"/>
              <a:t>, </a:t>
            </a:r>
            <a:r>
              <a:rPr lang="ru-RU" sz="1200" i="1" u="sng" dirty="0"/>
              <a:t>известная также как</a:t>
            </a:r>
            <a:r>
              <a:rPr lang="ru-RU" sz="1200" u="sng" dirty="0"/>
              <a:t> </a:t>
            </a:r>
            <a:r>
              <a:rPr lang="ru-RU" sz="1200" b="1" u="sng" dirty="0" err="1"/>
              <a:t>Toyota</a:t>
            </a:r>
            <a:r>
              <a:rPr lang="ru-RU" sz="1200" b="1" u="sng" dirty="0"/>
              <a:t> </a:t>
            </a:r>
            <a:r>
              <a:rPr lang="ru-RU" sz="1200" b="1" u="sng" dirty="0" err="1"/>
              <a:t>Production</a:t>
            </a:r>
            <a:r>
              <a:rPr lang="ru-RU" sz="1200" b="1" u="sng" dirty="0"/>
              <a:t> </a:t>
            </a:r>
            <a:r>
              <a:rPr lang="ru-RU" sz="1200" b="1" u="sng" dirty="0" err="1"/>
              <a:t>System</a:t>
            </a:r>
            <a:r>
              <a:rPr lang="ru-RU" sz="1200" u="sng" dirty="0"/>
              <a:t>, </a:t>
            </a:r>
            <a:r>
              <a:rPr lang="ru-RU" sz="1200" dirty="0"/>
              <a:t>берет свое начало в Японии. Более 50 лет назад в компании </a:t>
            </a:r>
            <a:r>
              <a:rPr lang="ru-RU" sz="1200" dirty="0" err="1"/>
              <a:t>Toyota</a:t>
            </a:r>
            <a:r>
              <a:rPr lang="ru-RU" sz="1200" dirty="0"/>
              <a:t> началось внедрение новой системы производства, давшей толчок разрушенной после войны японской экономике и превратившей компанию в автомобильного гиганта. В 1954 году начальник механического производства </a:t>
            </a:r>
            <a:r>
              <a:rPr lang="ru-RU" sz="1200" dirty="0" err="1"/>
              <a:t>Toyota</a:t>
            </a:r>
            <a:r>
              <a:rPr lang="ru-RU" sz="1200" dirty="0"/>
              <a:t> </a:t>
            </a:r>
            <a:r>
              <a:rPr lang="ru-RU" sz="1200" dirty="0" err="1"/>
              <a:t>Тайичи</a:t>
            </a:r>
            <a:r>
              <a:rPr lang="ru-RU" sz="1200" dirty="0"/>
              <a:t> Оно, находясь по обмену опытом в США, был впечатлен отнюдь не производственными линиями </a:t>
            </a:r>
            <a:r>
              <a:rPr lang="ru-RU" sz="1200" dirty="0" err="1"/>
              <a:t>General</a:t>
            </a:r>
            <a:r>
              <a:rPr lang="ru-RU" sz="1200" dirty="0"/>
              <a:t> </a:t>
            </a:r>
            <a:r>
              <a:rPr lang="ru-RU" sz="1200" dirty="0" err="1"/>
              <a:t>Motors</a:t>
            </a:r>
            <a:r>
              <a:rPr lang="ru-RU" sz="1200" dirty="0"/>
              <a:t> и </a:t>
            </a:r>
            <a:r>
              <a:rPr lang="ru-RU" sz="1200" dirty="0" err="1"/>
              <a:t>Ford</a:t>
            </a:r>
            <a:r>
              <a:rPr lang="ru-RU" sz="1200" dirty="0"/>
              <a:t>, а поведением покупателей в обычном супермаркете. Они выбирали товары, руководствуясь принципом «точно вовремя» (</a:t>
            </a:r>
            <a:r>
              <a:rPr lang="ru-RU" sz="1200" dirty="0" err="1"/>
              <a:t>Just-in-Time</a:t>
            </a:r>
            <a:r>
              <a:rPr lang="ru-RU" sz="1200" dirty="0"/>
              <a:t>). С тех пор, «производственная система </a:t>
            </a:r>
            <a:r>
              <a:rPr lang="ru-RU" sz="1200" dirty="0" err="1"/>
              <a:t>Toyota</a:t>
            </a:r>
            <a:r>
              <a:rPr lang="ru-RU" sz="1200" dirty="0"/>
              <a:t> покоится на двух опорах: концепции «точно вовремя» и автоматизации с участием человека».</a:t>
            </a:r>
          </a:p>
          <a:p>
            <a:r>
              <a:rPr lang="ru-RU" sz="1200" dirty="0"/>
              <a:t>В течение следующих 30 лет система бережливого производства развивалась и оттачивалась, превратившись в целую науку по организации оптимального производства. Лишь в конце 80-х годов публикации </a:t>
            </a:r>
            <a:r>
              <a:rPr lang="ru-RU" sz="1200" dirty="0" err="1"/>
              <a:t>Тайичи</a:t>
            </a:r>
            <a:r>
              <a:rPr lang="ru-RU" sz="1200" dirty="0"/>
              <a:t> Оно заметили в США, и с начала 90-х началось активное освоение метода с его адаптацией под западные особенности. Тогда же Джон </a:t>
            </a:r>
            <a:r>
              <a:rPr lang="ru-RU" sz="1200" dirty="0" err="1"/>
              <a:t>Крафчик</a:t>
            </a:r>
            <a:r>
              <a:rPr lang="ru-RU" sz="1200" dirty="0"/>
              <a:t> ввел альтернативный термин «</a:t>
            </a:r>
            <a:r>
              <a:rPr lang="ru-RU" sz="1200" dirty="0" err="1"/>
              <a:t>Lean</a:t>
            </a:r>
            <a:r>
              <a:rPr lang="ru-RU" sz="1200" dirty="0"/>
              <a:t>», что в переводе означает «лишенный жира».</a:t>
            </a:r>
          </a:p>
          <a:p>
            <a:r>
              <a:rPr lang="ru-RU" sz="1200" b="1" dirty="0" err="1"/>
              <a:t>Lean</a:t>
            </a:r>
            <a:r>
              <a:rPr lang="ru-RU" sz="1200" b="1" dirty="0"/>
              <a:t> </a:t>
            </a:r>
            <a:r>
              <a:rPr lang="ru-RU" sz="1200" b="1" dirty="0" err="1"/>
              <a:t>Manufacturing</a:t>
            </a:r>
            <a:r>
              <a:rPr lang="ru-RU" sz="1200" dirty="0"/>
              <a:t> – сложная система, состоящая из множества элементов, в основе которой лежит ориентированность на клиента и создание ценности на всех отрезках производственного процесса, начиная с устройства рабочих мест и заканчивая готовым продуктом. Любой элемент производства, который не ориентирован на эти два фактора, считается лишним и подлежит оптимизации. Ценность изделия в широком смысле рассматривается как мера удовлетворения потребности клиента. Любые действия, которые не увеличивают ее, считаются лишними, то есть «жиром», и подлежат трансформации. </a:t>
            </a:r>
            <a:r>
              <a:rPr lang="ru-RU" sz="1200" dirty="0" err="1"/>
              <a:t>Lean</a:t>
            </a:r>
            <a:r>
              <a:rPr lang="ru-RU" sz="1200" dirty="0"/>
              <a:t>-менеджмент стремится максимально исключить потери на всех уровнях производства. Любопытно, что к негативным элементам относятся не только брак и недостаточный выпуск продукции, но и перепроизводство, наличие лишних запасов, недостаточное использование потенциала работников, лишние перемещения персонала и материалов, а также многое другое, вплоть до таких мелочей, как наличие ненужных вещей на рабочем месте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EBD501-1932-4DA5-A84C-37914F660837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4965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4064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31.xml"/><Relationship Id="rId7" Type="http://schemas.openxmlformats.org/officeDocument/2006/relationships/image" Target="../media/image1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8.png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16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8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16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25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9994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070580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296988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397152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2122384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877114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326214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027748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880043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6707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569139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55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842552"/>
            <a:ext cx="7772400" cy="1792358"/>
          </a:xfrm>
        </p:spPr>
        <p:txBody>
          <a:bodyPr anchor="b"/>
          <a:lstStyle>
            <a:lvl1pPr algn="ctr">
              <a:defRPr sz="450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4031"/>
            <a:ext cx="6858000" cy="1242971"/>
          </a:xfrm>
        </p:spPr>
        <p:txBody>
          <a:bodyPr/>
          <a:lstStyle>
            <a:lvl1pPr marL="0" indent="0" algn="ctr">
              <a:buNone/>
              <a:defRPr sz="1802"/>
            </a:lvl1pPr>
            <a:lvl2pPr marL="343205" indent="0" algn="ctr">
              <a:buNone/>
              <a:defRPr sz="1502"/>
            </a:lvl2pPr>
            <a:lvl3pPr marL="686409" indent="0" algn="ctr">
              <a:buNone/>
              <a:defRPr sz="1351"/>
            </a:lvl3pPr>
            <a:lvl4pPr marL="1029614" indent="0" algn="ctr">
              <a:buNone/>
              <a:defRPr sz="1201"/>
            </a:lvl4pPr>
            <a:lvl5pPr marL="1372818" indent="0" algn="ctr">
              <a:buNone/>
              <a:defRPr sz="1201"/>
            </a:lvl5pPr>
            <a:lvl6pPr marL="1716023" indent="0" algn="ctr">
              <a:buNone/>
              <a:defRPr sz="1201"/>
            </a:lvl6pPr>
            <a:lvl7pPr marL="2059228" indent="0" algn="ctr">
              <a:buNone/>
              <a:defRPr sz="1201"/>
            </a:lvl7pPr>
            <a:lvl8pPr marL="2402432" indent="0" algn="ctr">
              <a:buNone/>
              <a:defRPr sz="1201"/>
            </a:lvl8pPr>
            <a:lvl9pPr marL="2745637" indent="0" algn="ctr">
              <a:buNone/>
              <a:defRPr sz="1201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475140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44974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581593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9871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7928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842552"/>
            <a:ext cx="7772400" cy="1792358"/>
          </a:xfrm>
        </p:spPr>
        <p:txBody>
          <a:bodyPr anchor="b"/>
          <a:lstStyle>
            <a:lvl1pPr algn="ctr">
              <a:defRPr sz="450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4031"/>
            <a:ext cx="6858000" cy="1242971"/>
          </a:xfrm>
        </p:spPr>
        <p:txBody>
          <a:bodyPr/>
          <a:lstStyle>
            <a:lvl1pPr marL="0" indent="0" algn="ctr">
              <a:buNone/>
              <a:defRPr sz="1802"/>
            </a:lvl1pPr>
            <a:lvl2pPr marL="343205" indent="0" algn="ctr">
              <a:buNone/>
              <a:defRPr sz="1502"/>
            </a:lvl2pPr>
            <a:lvl3pPr marL="686409" indent="0" algn="ctr">
              <a:buNone/>
              <a:defRPr sz="1351"/>
            </a:lvl3pPr>
            <a:lvl4pPr marL="1029614" indent="0" algn="ctr">
              <a:buNone/>
              <a:defRPr sz="1201"/>
            </a:lvl4pPr>
            <a:lvl5pPr marL="1372818" indent="0" algn="ctr">
              <a:buNone/>
              <a:defRPr sz="1201"/>
            </a:lvl5pPr>
            <a:lvl6pPr marL="1716023" indent="0" algn="ctr">
              <a:buNone/>
              <a:defRPr sz="1201"/>
            </a:lvl6pPr>
            <a:lvl7pPr marL="2059228" indent="0" algn="ctr">
              <a:buNone/>
              <a:defRPr sz="1201"/>
            </a:lvl7pPr>
            <a:lvl8pPr marL="2402432" indent="0" algn="ctr">
              <a:buNone/>
              <a:defRPr sz="1201"/>
            </a:lvl8pPr>
            <a:lvl9pPr marL="2745637" indent="0" algn="ctr">
              <a:buNone/>
              <a:defRPr sz="1201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431122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512271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3492"/>
            <a:ext cx="7886700" cy="2141534"/>
          </a:xfrm>
        </p:spPr>
        <p:txBody>
          <a:bodyPr anchor="b"/>
          <a:lstStyle>
            <a:lvl1pPr>
              <a:defRPr sz="450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5286"/>
            <a:ext cx="7886700" cy="1126182"/>
          </a:xfrm>
        </p:spPr>
        <p:txBody>
          <a:bodyPr/>
          <a:lstStyle>
            <a:lvl1pPr marL="0" indent="0">
              <a:buNone/>
              <a:defRPr sz="1802">
                <a:solidFill>
                  <a:schemeClr val="tx1"/>
                </a:solidFill>
              </a:defRPr>
            </a:lvl1pPr>
            <a:lvl2pPr marL="343205" indent="0">
              <a:buNone/>
              <a:defRPr sz="1502">
                <a:solidFill>
                  <a:schemeClr val="tx1">
                    <a:tint val="75000"/>
                  </a:schemeClr>
                </a:solidFill>
              </a:defRPr>
            </a:lvl2pPr>
            <a:lvl3pPr marL="686409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9614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4pPr>
            <a:lvl5pPr marL="1372818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5pPr>
            <a:lvl6pPr marL="1716023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6pPr>
            <a:lvl7pPr marL="2059228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7pPr>
            <a:lvl8pPr marL="2402432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8pPr>
            <a:lvl9pPr marL="2745637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966136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370487"/>
            <a:ext cx="3886200" cy="3266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70487"/>
            <a:ext cx="3886200" cy="3266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044540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274098"/>
            <a:ext cx="7886700" cy="99509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2040"/>
            <a:ext cx="3868340" cy="61850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05" indent="0">
              <a:buNone/>
              <a:defRPr sz="1502" b="1"/>
            </a:lvl2pPr>
            <a:lvl3pPr marL="686409" indent="0">
              <a:buNone/>
              <a:defRPr sz="1351" b="1"/>
            </a:lvl3pPr>
            <a:lvl4pPr marL="1029614" indent="0">
              <a:buNone/>
              <a:defRPr sz="1201" b="1"/>
            </a:lvl4pPr>
            <a:lvl5pPr marL="1372818" indent="0">
              <a:buNone/>
              <a:defRPr sz="1201" b="1"/>
            </a:lvl5pPr>
            <a:lvl6pPr marL="1716023" indent="0">
              <a:buNone/>
              <a:defRPr sz="1201" b="1"/>
            </a:lvl6pPr>
            <a:lvl7pPr marL="2059228" indent="0">
              <a:buNone/>
              <a:defRPr sz="1201" b="1"/>
            </a:lvl7pPr>
            <a:lvl8pPr marL="2402432" indent="0">
              <a:buNone/>
              <a:defRPr sz="1201" b="1"/>
            </a:lvl8pPr>
            <a:lvl9pPr marL="2745637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80546"/>
            <a:ext cx="3868340" cy="276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2040"/>
            <a:ext cx="3887391" cy="61850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05" indent="0">
              <a:buNone/>
              <a:defRPr sz="1502" b="1"/>
            </a:lvl2pPr>
            <a:lvl3pPr marL="686409" indent="0">
              <a:buNone/>
              <a:defRPr sz="1351" b="1"/>
            </a:lvl3pPr>
            <a:lvl4pPr marL="1029614" indent="0">
              <a:buNone/>
              <a:defRPr sz="1201" b="1"/>
            </a:lvl4pPr>
            <a:lvl5pPr marL="1372818" indent="0">
              <a:buNone/>
              <a:defRPr sz="1201" b="1"/>
            </a:lvl5pPr>
            <a:lvl6pPr marL="1716023" indent="0">
              <a:buNone/>
              <a:defRPr sz="1201" b="1"/>
            </a:lvl6pPr>
            <a:lvl7pPr marL="2059228" indent="0">
              <a:buNone/>
              <a:defRPr sz="1201" b="1"/>
            </a:lvl7pPr>
            <a:lvl8pPr marL="2402432" indent="0">
              <a:buNone/>
              <a:defRPr sz="1201" b="1"/>
            </a:lvl8pPr>
            <a:lvl9pPr marL="2745637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80546"/>
            <a:ext cx="3887391" cy="276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138612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20070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7" y="1476375"/>
            <a:ext cx="3940175" cy="25078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lang="en-US" sz="7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24584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charset="0"/>
              <a:buNone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355005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3217"/>
            <a:ext cx="2949178" cy="1201261"/>
          </a:xfrm>
        </p:spPr>
        <p:txBody>
          <a:bodyPr anchor="b"/>
          <a:lstStyle>
            <a:lvl1pPr>
              <a:defRPr sz="2402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1256"/>
            <a:ext cx="4629150" cy="3658604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2"/>
            </a:lvl4pPr>
            <a:lvl5pPr>
              <a:defRPr sz="1502"/>
            </a:lvl5pPr>
            <a:lvl6pPr>
              <a:defRPr sz="1502"/>
            </a:lvl6pPr>
            <a:lvl7pPr>
              <a:defRPr sz="1502"/>
            </a:lvl7pPr>
            <a:lvl8pPr>
              <a:defRPr sz="1502"/>
            </a:lvl8pPr>
            <a:lvl9pPr>
              <a:defRPr sz="150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4479"/>
            <a:ext cx="2949178" cy="2861338"/>
          </a:xfrm>
        </p:spPr>
        <p:txBody>
          <a:bodyPr/>
          <a:lstStyle>
            <a:lvl1pPr marL="0" indent="0">
              <a:buNone/>
              <a:defRPr sz="1201"/>
            </a:lvl1pPr>
            <a:lvl2pPr marL="343205" indent="0">
              <a:buNone/>
              <a:defRPr sz="1051"/>
            </a:lvl2pPr>
            <a:lvl3pPr marL="686409" indent="0">
              <a:buNone/>
              <a:defRPr sz="901"/>
            </a:lvl3pPr>
            <a:lvl4pPr marL="1029614" indent="0">
              <a:buNone/>
              <a:defRPr sz="750"/>
            </a:lvl4pPr>
            <a:lvl5pPr marL="1372818" indent="0">
              <a:buNone/>
              <a:defRPr sz="750"/>
            </a:lvl5pPr>
            <a:lvl6pPr marL="1716023" indent="0">
              <a:buNone/>
              <a:defRPr sz="750"/>
            </a:lvl6pPr>
            <a:lvl7pPr marL="2059228" indent="0">
              <a:buNone/>
              <a:defRPr sz="750"/>
            </a:lvl7pPr>
            <a:lvl8pPr marL="2402432" indent="0">
              <a:buNone/>
              <a:defRPr sz="750"/>
            </a:lvl8pPr>
            <a:lvl9pPr marL="2745637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365164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3217"/>
            <a:ext cx="2949178" cy="1201261"/>
          </a:xfrm>
        </p:spPr>
        <p:txBody>
          <a:bodyPr anchor="b"/>
          <a:lstStyle>
            <a:lvl1pPr>
              <a:defRPr sz="2402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1256"/>
            <a:ext cx="4629150" cy="3658604"/>
          </a:xfrm>
        </p:spPr>
        <p:txBody>
          <a:bodyPr anchor="t"/>
          <a:lstStyle>
            <a:lvl1pPr marL="0" indent="0">
              <a:buNone/>
              <a:defRPr sz="2402"/>
            </a:lvl1pPr>
            <a:lvl2pPr marL="343205" indent="0">
              <a:buNone/>
              <a:defRPr sz="2102"/>
            </a:lvl2pPr>
            <a:lvl3pPr marL="686409" indent="0">
              <a:buNone/>
              <a:defRPr sz="1802"/>
            </a:lvl3pPr>
            <a:lvl4pPr marL="1029614" indent="0">
              <a:buNone/>
              <a:defRPr sz="1502"/>
            </a:lvl4pPr>
            <a:lvl5pPr marL="1372818" indent="0">
              <a:buNone/>
              <a:defRPr sz="1502"/>
            </a:lvl5pPr>
            <a:lvl6pPr marL="1716023" indent="0">
              <a:buNone/>
              <a:defRPr sz="1502"/>
            </a:lvl6pPr>
            <a:lvl7pPr marL="2059228" indent="0">
              <a:buNone/>
              <a:defRPr sz="1502"/>
            </a:lvl7pPr>
            <a:lvl8pPr marL="2402432" indent="0">
              <a:buNone/>
              <a:defRPr sz="1502"/>
            </a:lvl8pPr>
            <a:lvl9pPr marL="2745637" indent="0">
              <a:buNone/>
              <a:defRPr sz="1502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4479"/>
            <a:ext cx="2949178" cy="2861338"/>
          </a:xfrm>
        </p:spPr>
        <p:txBody>
          <a:bodyPr/>
          <a:lstStyle>
            <a:lvl1pPr marL="0" indent="0">
              <a:buNone/>
              <a:defRPr sz="1201"/>
            </a:lvl1pPr>
            <a:lvl2pPr marL="343205" indent="0">
              <a:buNone/>
              <a:defRPr sz="1051"/>
            </a:lvl2pPr>
            <a:lvl3pPr marL="686409" indent="0">
              <a:buNone/>
              <a:defRPr sz="901"/>
            </a:lvl3pPr>
            <a:lvl4pPr marL="1029614" indent="0">
              <a:buNone/>
              <a:defRPr sz="750"/>
            </a:lvl4pPr>
            <a:lvl5pPr marL="1372818" indent="0">
              <a:buNone/>
              <a:defRPr sz="750"/>
            </a:lvl5pPr>
            <a:lvl6pPr marL="1716023" indent="0">
              <a:buNone/>
              <a:defRPr sz="750"/>
            </a:lvl6pPr>
            <a:lvl7pPr marL="2059228" indent="0">
              <a:buNone/>
              <a:defRPr sz="750"/>
            </a:lvl7pPr>
            <a:lvl8pPr marL="2402432" indent="0">
              <a:buNone/>
              <a:defRPr sz="750"/>
            </a:lvl8pPr>
            <a:lvl9pPr marL="2745637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936646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09243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098"/>
            <a:ext cx="1971675" cy="436291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4098"/>
            <a:ext cx="5800725" cy="436291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932393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34" y="1227"/>
          <a:ext cx="1619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4" y="1227"/>
                        <a:ext cx="1619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9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381813"/>
            <a:ext cx="2460610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9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689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09" y="502191"/>
            <a:ext cx="2164054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9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689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7" y="3777079"/>
            <a:ext cx="5036084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72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7" y="3982183"/>
            <a:ext cx="5036084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72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3" y="10"/>
            <a:ext cx="9140760" cy="5148263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947" tIns="34974" rIns="69947" bIns="34974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endParaRPr lang="ru-RU" sz="1226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2" y="4935485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9" y="2384226"/>
            <a:ext cx="5036083" cy="377155"/>
          </a:xfrm>
          <a:prstGeom prst="rect">
            <a:avLst/>
          </a:prstGeom>
        </p:spPr>
        <p:txBody>
          <a:bodyPr/>
          <a:lstStyle>
            <a:lvl1pPr>
              <a:defRPr sz="2451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9" y="2962014"/>
            <a:ext cx="5036083" cy="165018"/>
          </a:xfrm>
        </p:spPr>
        <p:txBody>
          <a:bodyPr>
            <a:spAutoFit/>
          </a:bodyPr>
          <a:lstStyle>
            <a:lvl1pPr>
              <a:defRPr sz="1072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3466627"/>
            <a:ext cx="5850864" cy="1681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45922"/>
            <a:ext cx="9127802" cy="1412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0731" y="1590974"/>
            <a:ext cx="1255377" cy="67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326127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7" y="253106"/>
            <a:ext cx="6817285" cy="22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568913" y="4830655"/>
            <a:ext cx="405772" cy="329943"/>
          </a:xfrm>
          <a:prstGeom prst="rect">
            <a:avLst/>
          </a:prstGeom>
        </p:spPr>
        <p:txBody>
          <a:bodyPr wrap="none" lIns="69955" tIns="34979" rIns="69955" bIns="34979">
            <a:spAutoFit/>
          </a:bodyPr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fld id="{3F385F46-FE36-43E0-8AEF-AC9950742405}" type="slidenum">
              <a:rPr lang="ru-RU" sz="1685" smtClean="0">
                <a:solidFill>
                  <a:srgbClr val="003274"/>
                </a:solidFill>
              </a:rPr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68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153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1" y="2039092"/>
            <a:ext cx="7772399" cy="22395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2917350"/>
            <a:ext cx="6400800" cy="18859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3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9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5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9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2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5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71678"/>
            <a:ext cx="2133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fld id="{FCDF1612-8164-49D0-B78C-DA5E8B305109}" type="datetimeFigureOut">
              <a:rPr lang="ru-RU" sz="1226" smtClean="0">
                <a:solidFill>
                  <a:srgbClr val="000000"/>
                </a:solidFill>
              </a:rPr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t>22.09.2023</a:t>
            </a:fld>
            <a:endParaRPr lang="ru-RU" sz="1226" dirty="0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2" y="4771678"/>
            <a:ext cx="2895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endParaRPr lang="ru-RU" sz="1226" dirty="0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71678"/>
            <a:ext cx="2133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fld id="{A5DA0559-C6E3-43B3-8F32-AFFD152310A9}" type="slidenum">
              <a:rPr lang="ru-RU" sz="1226" smtClean="0">
                <a:solidFill>
                  <a:srgbClr val="000000"/>
                </a:solidFill>
              </a:rPr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226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7277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39049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9487467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3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5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8788378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5373390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36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0999716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037263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6001625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355364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76000034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46524543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7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7322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2553187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34830962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08568465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970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54109631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6382257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048823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924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2758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2013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52578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1665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4245227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1095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2018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4340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053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4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6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7131267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C38206-4828-4678-B9C4-DF1DE1AE3D6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7790879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47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4E09CB-8767-4EAD-A82E-60657922E68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8170123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5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8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E9D52D-F169-4A34-BDA4-9E63BEFE7F6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39326170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20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20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3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20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20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EA6B6B-F25B-48C7-9256-EE6F5072959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17368861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7EBB71-4F49-44D1-A64D-CB22C0BACF4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61849775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9315D6-AF35-40BB-BE32-39B8CB0D90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39399344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9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501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501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077324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C01A19-BFA0-43D7-AE86-7B169650F6D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64274680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F1BB8-2647-4425-8163-FBAACE9973E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82761055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3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8BBEC1-99D1-41F5-9882-98BC85521A7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05065385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5" y="0"/>
            <a:ext cx="6167437" cy="4709707"/>
          </a:xfrm>
        </p:spPr>
        <p:txBody>
          <a:bodyPr vert="eaVert"/>
          <a:lstStyle>
            <a:lvl3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701FAC-AEF6-48D4-A4AF-8EA6B9C0A63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94588791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2466515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8538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517819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8498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4344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1073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34" y="1227"/>
          <a:ext cx="1619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4" y="1227"/>
                        <a:ext cx="1619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9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381813"/>
            <a:ext cx="2460610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9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689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09" y="502191"/>
            <a:ext cx="2164054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9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689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7" y="3777079"/>
            <a:ext cx="5036084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72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7" y="3982183"/>
            <a:ext cx="5036084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72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3" y="10"/>
            <a:ext cx="9140760" cy="5148263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947" tIns="34974" rIns="69947" bIns="34974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endParaRPr lang="ru-RU" sz="1226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2" y="4935485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9" y="2384226"/>
            <a:ext cx="5036083" cy="377155"/>
          </a:xfrm>
          <a:prstGeom prst="rect">
            <a:avLst/>
          </a:prstGeom>
        </p:spPr>
        <p:txBody>
          <a:bodyPr/>
          <a:lstStyle>
            <a:lvl1pPr>
              <a:defRPr sz="2451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9" y="2962014"/>
            <a:ext cx="5036083" cy="165018"/>
          </a:xfrm>
        </p:spPr>
        <p:txBody>
          <a:bodyPr>
            <a:spAutoFit/>
          </a:bodyPr>
          <a:lstStyle>
            <a:lvl1pPr>
              <a:defRPr sz="1072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3466627"/>
            <a:ext cx="5850864" cy="1681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45922"/>
            <a:ext cx="9127802" cy="1412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0731" y="1590974"/>
            <a:ext cx="1255377" cy="67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14909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7" y="253106"/>
            <a:ext cx="6817285" cy="22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568913" y="4830655"/>
            <a:ext cx="405772" cy="329943"/>
          </a:xfrm>
          <a:prstGeom prst="rect">
            <a:avLst/>
          </a:prstGeom>
        </p:spPr>
        <p:txBody>
          <a:bodyPr wrap="none" lIns="69955" tIns="34979" rIns="69955" bIns="34979">
            <a:spAutoFit/>
          </a:bodyPr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fld id="{3F385F46-FE36-43E0-8AEF-AC9950742405}" type="slidenum">
              <a:rPr lang="ru-RU" sz="1685" smtClean="0">
                <a:solidFill>
                  <a:srgbClr val="003274"/>
                </a:solidFill>
              </a:rPr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68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412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1" y="2039092"/>
            <a:ext cx="7772399" cy="22395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2917350"/>
            <a:ext cx="6400800" cy="18859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31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9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2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5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9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2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5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71678"/>
            <a:ext cx="2133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endParaRPr lang="ru-RU" sz="1226" dirty="0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2" y="4771678"/>
            <a:ext cx="2895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endParaRPr lang="ru-RU" sz="1226" dirty="0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71678"/>
            <a:ext cx="2133600" cy="274097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fld id="{A5DA0559-C6E3-43B3-8F32-AFFD152310A9}" type="slidenum">
              <a:rPr lang="ru-RU" sz="1226" smtClean="0">
                <a:solidFill>
                  <a:srgbClr val="000000"/>
                </a:solidFill>
              </a:rPr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226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20236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597800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4467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91582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1596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539750" y="1476375"/>
            <a:ext cx="4014788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8" y="1476375"/>
            <a:ext cx="3940175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8" hasCustomPrompt="1"/>
          </p:nvPr>
        </p:nvSpPr>
        <p:spPr>
          <a:xfrm>
            <a:off x="539750" y="3482975"/>
            <a:ext cx="4014788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4808538" y="3479346"/>
            <a:ext cx="3940174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6454096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2399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2665669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16360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14088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68753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6975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0011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595" y="842964"/>
            <a:ext cx="6856810" cy="1792287"/>
          </a:xfrm>
          <a:prstGeom prst="rect">
            <a:avLst/>
          </a:prstGeom>
        </p:spPr>
        <p:txBody>
          <a:bodyPr anchor="b"/>
          <a:lstStyle>
            <a:lvl1pPr algn="ctr">
              <a:defRPr sz="599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595" y="2703513"/>
            <a:ext cx="6856810" cy="124301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398"/>
            </a:lvl1pPr>
            <a:lvl2pPr marL="456789" indent="0" algn="ctr">
              <a:buNone/>
              <a:defRPr sz="1998"/>
            </a:lvl2pPr>
            <a:lvl3pPr marL="913577" indent="0" algn="ctr">
              <a:buNone/>
              <a:defRPr sz="1798"/>
            </a:lvl3pPr>
            <a:lvl4pPr marL="1370366" indent="0" algn="ctr">
              <a:buNone/>
              <a:defRPr sz="1599"/>
            </a:lvl4pPr>
            <a:lvl5pPr marL="1827154" indent="0" algn="ctr">
              <a:buNone/>
              <a:defRPr sz="1599"/>
            </a:lvl5pPr>
            <a:lvl6pPr marL="2283943" indent="0" algn="ctr">
              <a:buNone/>
              <a:defRPr sz="1599"/>
            </a:lvl6pPr>
            <a:lvl7pPr marL="2740731" indent="0" algn="ctr">
              <a:buNone/>
              <a:defRPr sz="1599"/>
            </a:lvl7pPr>
            <a:lvl8pPr marL="3197520" indent="0" algn="ctr">
              <a:buNone/>
              <a:defRPr sz="1599"/>
            </a:lvl8pPr>
            <a:lvl9pPr marL="3654308" indent="0" algn="ctr">
              <a:buNone/>
              <a:defRPr sz="1599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346398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20471"/>
            <a:ext cx="1674813" cy="1111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7434"/>
            <a:ext cx="8280400" cy="774623"/>
          </a:xfrm>
          <a:ln/>
        </p:spPr>
        <p:txBody>
          <a:bodyPr/>
          <a:lstStyle>
            <a:lvl1pPr>
              <a:lnSpc>
                <a:spcPct val="130000"/>
              </a:lnSpc>
              <a:defRPr sz="135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5685"/>
            <a:ext cx="3743325" cy="487416"/>
          </a:xfrm>
          <a:ln/>
        </p:spPr>
        <p:txBody>
          <a:bodyPr anchor="ctr"/>
          <a:lstStyle>
            <a:lvl1pPr marL="0" indent="0">
              <a:buFontTx/>
              <a:buNone/>
              <a:defRPr sz="1051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216861441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918563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539750" y="1476375"/>
            <a:ext cx="4014788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4808539" y="1476375"/>
            <a:ext cx="3940174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47603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8236"/>
            <a:ext cx="7772400" cy="1022502"/>
          </a:xfrm>
        </p:spPr>
        <p:txBody>
          <a:bodyPr anchor="t"/>
          <a:lstStyle>
            <a:lvl1pPr algn="l">
              <a:defRPr sz="300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2054"/>
            <a:ext cx="7772400" cy="1126182"/>
          </a:xfrm>
        </p:spPr>
        <p:txBody>
          <a:bodyPr anchor="b"/>
          <a:lstStyle>
            <a:lvl1pPr marL="0" indent="0">
              <a:buNone/>
              <a:defRPr sz="1501"/>
            </a:lvl1pPr>
            <a:lvl2pPr marL="343220" indent="0">
              <a:buNone/>
              <a:defRPr sz="1351"/>
            </a:lvl2pPr>
            <a:lvl3pPr marL="686440" indent="0">
              <a:buNone/>
              <a:defRPr sz="1201"/>
            </a:lvl3pPr>
            <a:lvl4pPr marL="1029660" indent="0">
              <a:buNone/>
              <a:defRPr sz="1051"/>
            </a:lvl4pPr>
            <a:lvl5pPr marL="1372880" indent="0">
              <a:buNone/>
              <a:defRPr sz="1051"/>
            </a:lvl5pPr>
            <a:lvl6pPr marL="1716100" indent="0">
              <a:buNone/>
              <a:defRPr sz="1051"/>
            </a:lvl6pPr>
            <a:lvl7pPr marL="2059320" indent="0">
              <a:buNone/>
              <a:defRPr sz="1051"/>
            </a:lvl7pPr>
            <a:lvl8pPr marL="2402540" indent="0">
              <a:buNone/>
              <a:defRPr sz="1051"/>
            </a:lvl8pPr>
            <a:lvl9pPr marL="2745760" indent="0">
              <a:buNone/>
              <a:defRPr sz="105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193230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935"/>
            <a:ext cx="4135437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935"/>
            <a:ext cx="4137025" cy="3864772"/>
          </a:xfrm>
        </p:spPr>
        <p:txBody>
          <a:bodyPr/>
          <a:lstStyle>
            <a:lvl1pPr>
              <a:defRPr sz="2102"/>
            </a:lvl1pPr>
            <a:lvl2pPr>
              <a:defRPr sz="1802"/>
            </a:lvl2pPr>
            <a:lvl3pPr>
              <a:defRPr sz="1501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789222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169"/>
            <a:ext cx="8229600" cy="85804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2401"/>
            <a:ext cx="4040188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2667"/>
            <a:ext cx="4040188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2401"/>
            <a:ext cx="4041775" cy="48026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20" indent="0">
              <a:buNone/>
              <a:defRPr sz="1501" b="1"/>
            </a:lvl2pPr>
            <a:lvl3pPr marL="686440" indent="0">
              <a:buNone/>
              <a:defRPr sz="1351" b="1"/>
            </a:lvl3pPr>
            <a:lvl4pPr marL="1029660" indent="0">
              <a:buNone/>
              <a:defRPr sz="1201" b="1"/>
            </a:lvl4pPr>
            <a:lvl5pPr marL="1372880" indent="0">
              <a:buNone/>
              <a:defRPr sz="1201" b="1"/>
            </a:lvl5pPr>
            <a:lvl6pPr marL="1716100" indent="0">
              <a:buNone/>
              <a:defRPr sz="1201" b="1"/>
            </a:lvl6pPr>
            <a:lvl7pPr marL="2059320" indent="0">
              <a:buNone/>
              <a:defRPr sz="1201" b="1"/>
            </a:lvl7pPr>
            <a:lvl8pPr marL="2402540" indent="0">
              <a:buNone/>
              <a:defRPr sz="1201" b="1"/>
            </a:lvl8pPr>
            <a:lvl9pPr marL="2745760" indent="0">
              <a:buNone/>
              <a:defRPr sz="1201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2667"/>
            <a:ext cx="4041775" cy="2966210"/>
          </a:xfrm>
        </p:spPr>
        <p:txBody>
          <a:bodyPr/>
          <a:lstStyle>
            <a:lvl1pPr>
              <a:defRPr sz="1802"/>
            </a:lvl1pPr>
            <a:lvl2pPr>
              <a:defRPr sz="1501"/>
            </a:lvl2pPr>
            <a:lvl3pPr>
              <a:defRPr sz="1351"/>
            </a:lvl3pPr>
            <a:lvl4pPr>
              <a:defRPr sz="1201"/>
            </a:lvl4pPr>
            <a:lvl5pPr>
              <a:defRPr sz="1201"/>
            </a:lvl5pPr>
            <a:lvl6pPr>
              <a:defRPr sz="1201"/>
            </a:lvl6pPr>
            <a:lvl7pPr>
              <a:defRPr sz="1201"/>
            </a:lvl7pPr>
            <a:lvl8pPr>
              <a:defRPr sz="1201"/>
            </a:lvl8pPr>
            <a:lvl9pPr>
              <a:defRPr sz="12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064513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079048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648705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977"/>
            <a:ext cx="3008313" cy="872345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977"/>
            <a:ext cx="5111750" cy="4393900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7322"/>
            <a:ext cx="3008313" cy="352155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074102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3784"/>
            <a:ext cx="5486400" cy="425447"/>
          </a:xfrm>
        </p:spPr>
        <p:txBody>
          <a:bodyPr anchor="b"/>
          <a:lstStyle>
            <a:lvl1pPr algn="l">
              <a:defRPr sz="1501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007"/>
            <a:ext cx="5486400" cy="3088958"/>
          </a:xfrm>
        </p:spPr>
        <p:txBody>
          <a:bodyPr/>
          <a:lstStyle>
            <a:lvl1pPr marL="0" indent="0">
              <a:buNone/>
              <a:defRPr sz="2402"/>
            </a:lvl1pPr>
            <a:lvl2pPr marL="343220" indent="0">
              <a:buNone/>
              <a:defRPr sz="2102"/>
            </a:lvl2pPr>
            <a:lvl3pPr marL="686440" indent="0">
              <a:buNone/>
              <a:defRPr sz="1802"/>
            </a:lvl3pPr>
            <a:lvl4pPr marL="1029660" indent="0">
              <a:buNone/>
              <a:defRPr sz="1501"/>
            </a:lvl4pPr>
            <a:lvl5pPr marL="1372880" indent="0">
              <a:buNone/>
              <a:defRPr sz="1501"/>
            </a:lvl5pPr>
            <a:lvl6pPr marL="1716100" indent="0">
              <a:buNone/>
              <a:defRPr sz="1501"/>
            </a:lvl6pPr>
            <a:lvl7pPr marL="2059320" indent="0">
              <a:buNone/>
              <a:defRPr sz="1501"/>
            </a:lvl7pPr>
            <a:lvl8pPr marL="2402540" indent="0">
              <a:buNone/>
              <a:defRPr sz="1501"/>
            </a:lvl8pPr>
            <a:lvl9pPr marL="2745760" indent="0">
              <a:buNone/>
              <a:defRPr sz="1501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9231"/>
            <a:ext cx="5486400" cy="604205"/>
          </a:xfrm>
        </p:spPr>
        <p:txBody>
          <a:bodyPr/>
          <a:lstStyle>
            <a:lvl1pPr marL="0" indent="0">
              <a:buNone/>
              <a:defRPr sz="1051"/>
            </a:lvl1pPr>
            <a:lvl2pPr marL="343220" indent="0">
              <a:buNone/>
              <a:defRPr sz="901"/>
            </a:lvl2pPr>
            <a:lvl3pPr marL="686440" indent="0">
              <a:buNone/>
              <a:defRPr sz="751"/>
            </a:lvl3pPr>
            <a:lvl4pPr marL="1029660" indent="0">
              <a:buNone/>
              <a:defRPr sz="676"/>
            </a:lvl4pPr>
            <a:lvl5pPr marL="1372880" indent="0">
              <a:buNone/>
              <a:defRPr sz="676"/>
            </a:lvl5pPr>
            <a:lvl6pPr marL="1716100" indent="0">
              <a:buNone/>
              <a:defRPr sz="676"/>
            </a:lvl6pPr>
            <a:lvl7pPr marL="2059320" indent="0">
              <a:buNone/>
              <a:defRPr sz="676"/>
            </a:lvl7pPr>
            <a:lvl8pPr marL="2402540" indent="0">
              <a:buNone/>
              <a:defRPr sz="676"/>
            </a:lvl8pPr>
            <a:lvl9pPr marL="2745760" indent="0">
              <a:buNone/>
              <a:defRPr sz="67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585512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881196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970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970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130018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25513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5151799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33416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216"/>
          <a:ext cx="1619" cy="12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689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67"/>
            <a:ext cx="301290" cy="936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381804"/>
            <a:ext cx="2460610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689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5" y="502181"/>
            <a:ext cx="2164054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689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18" y="3777075"/>
            <a:ext cx="5036085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072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18" y="3982183"/>
            <a:ext cx="5036085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072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0"/>
            <a:ext cx="9140760" cy="5148263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z="1379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0" y="4935475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8" y="2384203"/>
            <a:ext cx="5036084" cy="377183"/>
          </a:xfrm>
          <a:prstGeom prst="rect">
            <a:avLst/>
          </a:prstGeom>
        </p:spPr>
        <p:txBody>
          <a:bodyPr/>
          <a:lstStyle>
            <a:lvl1pPr>
              <a:defRPr sz="2451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8" y="2962014"/>
            <a:ext cx="5036084" cy="165018"/>
          </a:xfrm>
        </p:spPr>
        <p:txBody>
          <a:bodyPr>
            <a:spAutoFit/>
          </a:bodyPr>
          <a:lstStyle>
            <a:lvl1pPr>
              <a:defRPr sz="1072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93136" y="3466627"/>
            <a:ext cx="5850864" cy="1681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9" y="145912"/>
            <a:ext cx="9127802" cy="1412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0740" y="207283"/>
            <a:ext cx="1534382" cy="827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11239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766" smtClean="0">
                <a:solidFill>
                  <a:srgbClr val="000000"/>
                </a:solidFill>
              </a:rPr>
              <a:pPr/>
              <a:t>‹#›</a:t>
            </a:fld>
            <a:endParaRPr lang="en-US" sz="766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253097"/>
            <a:ext cx="6817285" cy="22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787931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картинк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 Placeholder 7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700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Место для указания источников и сносок</a:t>
            </a:r>
            <a:endParaRPr lang="en-US"/>
          </a:p>
        </p:txBody>
      </p:sp>
      <p:sp>
        <p:nvSpPr>
          <p:cNvPr id="5" name="Slide Number Placeholder 5"/>
          <p:cNvSpPr txBox="1"/>
          <p:nvPr userDrawn="1"/>
        </p:nvSpPr>
        <p:spPr bwMode="auto"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6DF24603-9A1B-F342-92E0-89DE32840F75}" type="slidenum">
              <a:rPr lang="en-US" sz="700">
                <a:latin typeface="Arial"/>
                <a:ea typeface="Arial"/>
                <a:cs typeface="Arial"/>
              </a:rPr>
              <a:t>‹#›</a:t>
            </a:fld>
            <a:endParaRPr lang="en-US" sz="700" dirty="0">
              <a:latin typeface="Arial"/>
              <a:ea typeface="Arial"/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39750" y="431799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>
              <a:defRPr/>
            </a:pPr>
            <a:r>
              <a:rPr lang="ru-RU"/>
              <a:t>Заголовок</a:t>
            </a:r>
            <a:endParaRPr lang="en-US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/>
              <a:buNone/>
              <a:defRPr sz="1200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 lvl="0">
              <a:spcBef>
                <a:spcPts val="0"/>
              </a:spcBef>
              <a:defRPr/>
            </a:pPr>
            <a:r>
              <a:rPr lang="ru-RU" sz="1200">
                <a:solidFill>
                  <a:srgbClr val="333333"/>
                </a:solidFill>
                <a:latin typeface="Arial"/>
                <a:ea typeface="Arial"/>
                <a:cs typeface="Arial"/>
              </a:rPr>
              <a:t>Текст</a:t>
            </a:r>
            <a:endParaRPr/>
          </a:p>
        </p:txBody>
      </p:sp>
      <p:sp>
        <p:nvSpPr>
          <p:cNvPr id="8" name="Рисунок 2"/>
          <p:cNvSpPr>
            <a:spLocks noGrp="1"/>
          </p:cNvSpPr>
          <p:nvPr>
            <p:ph type="pic" sz="quarter" idx="15"/>
          </p:nvPr>
        </p:nvSpPr>
        <p:spPr bwMode="auto"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/>
                <a:cs typeface="Arial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099546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828870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 картинк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ext Placeholder 7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700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 marL="0" marR="0" lvl="0" indent="0" algn="l" defTabSz="91440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/>
              <a:t>Место для указания источников и сносок</a:t>
            </a:r>
            <a:endParaRPr lang="en-US"/>
          </a:p>
        </p:txBody>
      </p:sp>
      <p:sp>
        <p:nvSpPr>
          <p:cNvPr id="5" name="Slide Number Placeholder 5"/>
          <p:cNvSpPr txBox="1"/>
          <p:nvPr userDrawn="1"/>
        </p:nvSpPr>
        <p:spPr bwMode="auto"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6DF24603-9A1B-F342-92E0-89DE32840F75}" type="slidenum">
              <a:rPr lang="en-US" sz="700">
                <a:latin typeface="Arial"/>
                <a:ea typeface="Arial"/>
                <a:cs typeface="Arial"/>
              </a:rPr>
              <a:t>‹#›</a:t>
            </a:fld>
            <a:endParaRPr lang="en-US" sz="700">
              <a:latin typeface="Arial"/>
              <a:ea typeface="Arial"/>
              <a:cs typeface="Arial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539750" y="431799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>
              <a:defRPr/>
            </a:pPr>
            <a:r>
              <a:rPr lang="ru-RU"/>
              <a:t>Заголовок</a:t>
            </a:r>
            <a:endParaRPr lang="en-US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/>
              <a:buNone/>
              <a:defRPr sz="1200">
                <a:solidFill>
                  <a:srgbClr val="333333"/>
                </a:solidFill>
                <a:latin typeface="Arial"/>
                <a:ea typeface="Arial"/>
                <a:cs typeface="Arial"/>
              </a:defRPr>
            </a:lvl1pPr>
          </a:lstStyle>
          <a:p>
            <a:pPr lvl="0">
              <a:spcBef>
                <a:spcPts val="0"/>
              </a:spcBef>
              <a:defRPr/>
            </a:pPr>
            <a:r>
              <a:rPr lang="ru-RU" sz="1200">
                <a:solidFill>
                  <a:srgbClr val="333333"/>
                </a:solidFill>
                <a:latin typeface="Arial"/>
                <a:ea typeface="Arial"/>
                <a:cs typeface="Arial"/>
              </a:rPr>
              <a:t>Текст</a:t>
            </a:r>
            <a:endParaRPr/>
          </a:p>
        </p:txBody>
      </p:sp>
      <p:sp>
        <p:nvSpPr>
          <p:cNvPr id="8" name="Рисунок 2"/>
          <p:cNvSpPr>
            <a:spLocks noGrp="1"/>
          </p:cNvSpPr>
          <p:nvPr>
            <p:ph type="pic" sz="quarter" idx="15"/>
          </p:nvPr>
        </p:nvSpPr>
        <p:spPr bwMode="auto"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/>
                <a:cs typeface="Arial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327561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041501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818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87607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2798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210457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642"/>
            <a:ext cx="745397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81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27968"/>
            <a:ext cx="301290" cy="936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13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17" y="381804"/>
            <a:ext cx="214000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2" y="502191"/>
            <a:ext cx="1899559" cy="104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81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681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8" y="15"/>
            <a:ext cx="9140760" cy="5149479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2261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89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627699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613" dirty="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613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endParaRPr lang="ru-RU" sz="1226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78" y="4935491"/>
            <a:ext cx="1670055" cy="147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7" y="2378970"/>
            <a:ext cx="5036083" cy="387680"/>
          </a:xfrm>
          <a:prstGeom prst="rect">
            <a:avLst/>
          </a:prstGeom>
        </p:spPr>
        <p:txBody>
          <a:bodyPr/>
          <a:lstStyle>
            <a:lvl1pPr>
              <a:defRPr sz="2519" b="0"/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7" y="2962015"/>
            <a:ext cx="5036083" cy="167645"/>
          </a:xfrm>
        </p:spPr>
        <p:txBody>
          <a:bodyPr>
            <a:spAutoFit/>
          </a:bodyPr>
          <a:lstStyle>
            <a:lvl1pPr>
              <a:defRPr sz="1089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2215956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9185" y="223393"/>
            <a:ext cx="8016870" cy="23051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09375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77" y="4840838"/>
            <a:ext cx="627062" cy="283631"/>
          </a:xfrm>
          <a:prstGeom prst="rect">
            <a:avLst/>
          </a:prstGeom>
          <a:ln/>
        </p:spPr>
        <p:txBody>
          <a:bodyPr lIns="104730" tIns="52367" rIns="104730" bIns="52367"/>
          <a:lstStyle>
            <a:lvl1pPr>
              <a:defRPr/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fld id="{F96B1FF1-CCDF-4618-AA96-E8A119FBE8B6}" type="slidenum">
              <a:rPr lang="ru-RU" sz="1226" smtClean="0">
                <a:solidFill>
                  <a:srgbClr val="003274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26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7458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532447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71681"/>
            <a:ext cx="2133600" cy="274097"/>
          </a:xfrm>
          <a:prstGeom prst="rect">
            <a:avLst/>
          </a:prstGeom>
        </p:spPr>
        <p:txBody>
          <a:bodyPr lIns="91413" tIns="45707" rIns="91413" bIns="45707"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629808" y="4780444"/>
            <a:ext cx="5361139" cy="12257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94570" y="4657870"/>
            <a:ext cx="1734264" cy="253912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224294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60433" y="4790428"/>
            <a:ext cx="627062" cy="283631"/>
          </a:xfrm>
          <a:prstGeom prst="rect">
            <a:avLst/>
          </a:prstGeom>
        </p:spPr>
        <p:txBody>
          <a:bodyPr/>
          <a:lstStyle/>
          <a:p>
            <a:fld id="{FC3F8BEE-CD74-4E49-9991-6A4EEEAC08F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Объект 2"/>
          <p:cNvSpPr>
            <a:spLocks noGrp="1"/>
          </p:cNvSpPr>
          <p:nvPr>
            <p:ph idx="13"/>
          </p:nvPr>
        </p:nvSpPr>
        <p:spPr>
          <a:xfrm>
            <a:off x="630490" y="2574131"/>
            <a:ext cx="2522566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/>
          </p:nvPr>
        </p:nvSpPr>
        <p:spPr>
          <a:xfrm>
            <a:off x="629807" y="1225734"/>
            <a:ext cx="2522566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5"/>
          </p:nvPr>
        </p:nvSpPr>
        <p:spPr>
          <a:xfrm>
            <a:off x="6306266" y="1225734"/>
            <a:ext cx="2522284" cy="110236"/>
          </a:xfrm>
        </p:spPr>
        <p:txBody>
          <a:bodyPr/>
          <a:lstStyle>
            <a:lvl1pPr marL="0" indent="0" algn="l">
              <a:spcBef>
                <a:spcPts val="0"/>
              </a:spcBef>
              <a:defRPr sz="716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defRPr/>
            </a:lvl2pPr>
            <a:lvl3pPr marL="0" indent="0">
              <a:spcBef>
                <a:spcPts val="0"/>
              </a:spcBef>
              <a:defRPr/>
            </a:lvl3pPr>
            <a:lvl4pPr marL="0" indent="0">
              <a:spcBef>
                <a:spcPts val="0"/>
              </a:spcBef>
              <a:defRPr/>
            </a:lvl4pPr>
            <a:lvl5pPr marL="0" indent="0">
              <a:spcBef>
                <a:spcPts val="0"/>
              </a:spcBef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7" name="Объект 2"/>
          <p:cNvSpPr>
            <a:spLocks noGrp="1"/>
          </p:cNvSpPr>
          <p:nvPr>
            <p:ph idx="16"/>
          </p:nvPr>
        </p:nvSpPr>
        <p:spPr>
          <a:xfrm>
            <a:off x="6306266" y="2574131"/>
            <a:ext cx="2522284" cy="655957"/>
          </a:xfrm>
        </p:spPr>
        <p:txBody>
          <a:bodyPr/>
          <a:lstStyle>
            <a:lvl1pPr>
              <a:spcAft>
                <a:spcPts val="390"/>
              </a:spcAft>
              <a:defRPr sz="716"/>
            </a:lvl1pPr>
            <a:lvl2pPr marL="117028" indent="-117028">
              <a:spcAft>
                <a:spcPts val="390"/>
              </a:spcAft>
              <a:buFont typeface="Wingdings" panose="05000000000000000000" pitchFamily="2" charset="2"/>
              <a:buChar char="ü"/>
              <a:defRPr sz="716"/>
            </a:lvl2pPr>
            <a:lvl3pPr>
              <a:defRPr sz="716"/>
            </a:lvl3pPr>
            <a:lvl4pPr>
              <a:defRPr sz="716"/>
            </a:lvl4pPr>
            <a:lvl5pPr>
              <a:defRPr sz="716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0464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539750" y="1476375"/>
            <a:ext cx="4014788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8" y="1476375"/>
            <a:ext cx="3940175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8" hasCustomPrompt="1"/>
          </p:nvPr>
        </p:nvSpPr>
        <p:spPr>
          <a:xfrm>
            <a:off x="539750" y="3482975"/>
            <a:ext cx="4014788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4808538" y="3479346"/>
            <a:ext cx="3940174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94845817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539750" y="1476375"/>
            <a:ext cx="4014788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4808539" y="1476375"/>
            <a:ext cx="3940174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35903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591842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157061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4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35.xml"/><Relationship Id="rId9" Type="http://schemas.openxmlformats.org/officeDocument/2006/relationships/oleObject" Target="../embeddings/oleObject2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1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50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52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51.xml"/><Relationship Id="rId9" Type="http://schemas.openxmlformats.org/officeDocument/2006/relationships/oleObject" Target="../embeddings/oleObject2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55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tags" Target="../tags/tag4.xml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4.png"/><Relationship Id="rId4" Type="http://schemas.openxmlformats.org/officeDocument/2006/relationships/theme" Target="../theme/theme13.xml"/><Relationship Id="rId9" Type="http://schemas.openxmlformats.org/officeDocument/2006/relationships/image" Target="../media/image13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58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60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59.xml"/><Relationship Id="rId9" Type="http://schemas.openxmlformats.org/officeDocument/2006/relationships/oleObject" Target="../embeddings/oleObject2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63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65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64.xml"/><Relationship Id="rId9" Type="http://schemas.openxmlformats.org/officeDocument/2006/relationships/oleObject" Target="../embeddings/oleObject5.bin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66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67.xml"/><Relationship Id="rId4" Type="http://schemas.openxmlformats.org/officeDocument/2006/relationships/image" Target="../media/image22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69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heme" Target="../theme/theme22.xml"/><Relationship Id="rId7" Type="http://schemas.openxmlformats.org/officeDocument/2006/relationships/image" Target="../media/image10.emf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oleObject" Target="../embeddings/oleObject6.bin"/><Relationship Id="rId5" Type="http://schemas.openxmlformats.org/officeDocument/2006/relationships/tags" Target="../tags/tag8.xml"/><Relationship Id="rId4" Type="http://schemas.openxmlformats.org/officeDocument/2006/relationships/vmlDrawing" Target="../drawings/vmlDrawing8.vml"/><Relationship Id="rId9" Type="http://schemas.openxmlformats.org/officeDocument/2006/relationships/image" Target="../media/image14.png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theme" Target="../theme/theme23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19.png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theme" Target="../theme/theme24.xml"/><Relationship Id="rId1" Type="http://schemas.openxmlformats.org/officeDocument/2006/relationships/slideLayout" Target="../slideLayouts/slideLayout85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25.xml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0.emf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1.vml"/><Relationship Id="rId3" Type="http://schemas.openxmlformats.org/officeDocument/2006/relationships/slideLayout" Target="../slideLayouts/slideLayout92.xml"/><Relationship Id="rId7" Type="http://schemas.openxmlformats.org/officeDocument/2006/relationships/theme" Target="../theme/theme26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image" Target="../media/image10.emf"/><Relationship Id="rId5" Type="http://schemas.openxmlformats.org/officeDocument/2006/relationships/slideLayout" Target="../slideLayouts/slideLayout94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93.xml"/><Relationship Id="rId9" Type="http://schemas.openxmlformats.org/officeDocument/2006/relationships/tags" Target="../tags/tag11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98.xml"/><Relationship Id="rId7" Type="http://schemas.openxmlformats.org/officeDocument/2006/relationships/theme" Target="../theme/theme27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9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3" Type="http://schemas.openxmlformats.org/officeDocument/2006/relationships/slideLayout" Target="../slideLayouts/slideLayout104.xml"/><Relationship Id="rId7" Type="http://schemas.openxmlformats.org/officeDocument/2006/relationships/theme" Target="../theme/theme28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image" Target="../media/image10.emf"/><Relationship Id="rId5" Type="http://schemas.openxmlformats.org/officeDocument/2006/relationships/slideLayout" Target="../slideLayouts/slideLayout106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105.xml"/><Relationship Id="rId9" Type="http://schemas.openxmlformats.org/officeDocument/2006/relationships/tags" Target="../tags/tag12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3.vml"/><Relationship Id="rId3" Type="http://schemas.openxmlformats.org/officeDocument/2006/relationships/slideLayout" Target="../slideLayouts/slideLayout110.xml"/><Relationship Id="rId7" Type="http://schemas.openxmlformats.org/officeDocument/2006/relationships/theme" Target="../theme/theme29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image" Target="../media/image10.emf"/><Relationship Id="rId5" Type="http://schemas.openxmlformats.org/officeDocument/2006/relationships/slideLayout" Target="../slideLayouts/slideLayout112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111.xml"/><Relationship Id="rId9" Type="http://schemas.openxmlformats.org/officeDocument/2006/relationships/tags" Target="../tags/tag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127.xml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4.vml"/><Relationship Id="rId10" Type="http://schemas.openxmlformats.org/officeDocument/2006/relationships/image" Target="../media/image14.png"/><Relationship Id="rId4" Type="http://schemas.openxmlformats.org/officeDocument/2006/relationships/theme" Target="../theme/theme31.xml"/><Relationship Id="rId9" Type="http://schemas.openxmlformats.org/officeDocument/2006/relationships/image" Target="../media/image13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4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29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30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431800"/>
            <a:ext cx="816864" cy="104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01603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41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9" r:id="rId4"/>
    <p:sldLayoutId id="2147483860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652" b="1">
                <a:solidFill>
                  <a:schemeClr val="hlink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>
              <a:defRPr/>
            </a:pPr>
            <a:fld id="{423304E7-F98D-46B0-87E0-874C0070AB71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 smtClean="0"/>
              <a:t>Образец текста</a:t>
            </a:r>
          </a:p>
          <a:p>
            <a:pPr lvl="1"/>
            <a:r>
              <a:rPr lang="ru-RU" altLang="ru-RU" dirty="0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99421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201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051">
          <a:solidFill>
            <a:schemeClr val="tx1"/>
          </a:solidFill>
          <a:latin typeface="Times New Roman" panose="02020603050405020304" pitchFamily="18" charset="0"/>
          <a:cs typeface="Times New Roman" panose="02020603050405020304" pitchFamily="18" charset="0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828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8" r:id="rId4"/>
    <p:sldLayoutId id="2147483879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68021" y="1486358"/>
            <a:ext cx="1609415" cy="7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6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22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64201" y="3151383"/>
            <a:ext cx="1417055" cy="7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6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22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7" y="253106"/>
            <a:ext cx="6817285" cy="22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7" y="20671"/>
            <a:ext cx="655629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r>
              <a:rPr lang="ru-RU" sz="1072" dirty="0" smtClean="0">
                <a:solidFill>
                  <a:srgbClr val="808080"/>
                </a:solidFill>
              </a:rPr>
              <a:t>TRACKER</a:t>
            </a:r>
            <a:endParaRPr lang="ru-RU" sz="1072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1" y="710652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2556"/>
            <a:ext cx="8722840" cy="11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6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6"/>
            <a:ext cx="7002570" cy="11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66326" indent="-466326" defTabSz="684915" fontAlgn="base">
              <a:spcBef>
                <a:spcPct val="0"/>
              </a:spcBef>
              <a:spcAft>
                <a:spcPct val="0"/>
              </a:spcAft>
              <a:tabLst>
                <a:tab pos="468754" algn="l"/>
              </a:tabLst>
            </a:pPr>
            <a:r>
              <a:rPr lang="ru-RU" sz="766" dirty="0" smtClean="0">
                <a:solidFill>
                  <a:srgbClr val="000000"/>
                </a:solidFill>
              </a:rPr>
              <a:t>ИСТОЧНИК: источник</a:t>
            </a:r>
            <a:endParaRPr lang="ru-RU" sz="766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2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69947" tIns="69947" rIns="69947" bIns="69947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79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69947" tIns="69947" rIns="69947" bIns="69947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79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8323" y="31869"/>
            <a:ext cx="905490" cy="60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89333"/>
            <a:ext cx="1022738" cy="551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10559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684915" rtl="0" eaLnBrk="1" fontAlgn="base" hangingPunct="1">
        <a:spcBef>
          <a:spcPct val="0"/>
        </a:spcBef>
        <a:spcAft>
          <a:spcPct val="0"/>
        </a:spcAft>
        <a:tabLst>
          <a:tab pos="273238" algn="l"/>
        </a:tabLst>
        <a:defRPr sz="145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2pPr>
      <a:lvl3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3pPr>
      <a:lvl4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4pPr>
      <a:lvl5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5pPr>
      <a:lvl6pPr marL="349740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6pPr>
      <a:lvl7pPr marL="699491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7pPr>
      <a:lvl8pPr marL="1049236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8pPr>
      <a:lvl9pPr marL="1398976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48156" indent="-146942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49740" indent="-200375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69971" indent="-119012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1pPr>
      <a:lvl2pPr marL="349740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2pPr>
      <a:lvl3pPr marL="699491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3pPr>
      <a:lvl4pPr marL="104923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4pPr>
      <a:lvl5pPr marL="139897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5pPr>
      <a:lvl6pPr marL="1748723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6pPr>
      <a:lvl7pPr marL="2098468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7pPr>
      <a:lvl8pPr marL="2448211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8pPr>
      <a:lvl9pPr marL="279795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610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9" r:id="rId4"/>
    <p:sldLayoutId id="2147483890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056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6" r:id="rId4"/>
    <p:sldLayoutId id="2147483897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40377" y="361207"/>
            <a:ext cx="725904" cy="329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2821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0" y="0"/>
            <a:ext cx="9138039" cy="5152838"/>
          </a:xfrm>
          <a:prstGeom prst="rect">
            <a:avLst/>
          </a:prstGeom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id="{BFCFDCD3-0E65-BD46-B70A-BD77913A52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38037" cy="5152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19082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431800"/>
            <a:ext cx="816864" cy="104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90214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80" y="0"/>
            <a:ext cx="9138039" cy="5152838"/>
          </a:xfrm>
          <a:prstGeom prst="rect">
            <a:avLst/>
          </a:prstGeom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id="{BFCFDCD3-0E65-BD46-B70A-BD77913A52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38037" cy="5152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57021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7351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"/>
            <a:ext cx="9144000" cy="5152839"/>
          </a:xfrm>
          <a:prstGeom prst="rect">
            <a:avLst/>
          </a:prstGeom>
        </p:spPr>
      </p:pic>
      <p:pic>
        <p:nvPicPr>
          <p:cNvPr id="4" name="Picture 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701" y="445886"/>
            <a:ext cx="1542358" cy="701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861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</p:sldLayoutIdLst>
  <p:hf sldNum="0" hdr="0" ftr="0" dt="0"/>
  <p:txStyles>
    <p:titleStyle>
      <a:lvl1pPr algn="l" defTabSz="685799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79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49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49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48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48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48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47" indent="-171450" algn="l" defTabSz="68579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99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99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98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99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99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98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98" algn="l" defTabSz="68579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1">
          <p15:clr>
            <a:srgbClr val="F26B43"/>
          </p15:clr>
        </p15:guide>
        <p15:guide id="2" pos="2883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652" b="1">
                <a:solidFill>
                  <a:schemeClr val="hlink"/>
                </a:solidFill>
              </a:defRPr>
            </a:lvl1pPr>
          </a:lstStyle>
          <a:p>
            <a:pPr defTabSz="68644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68644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3110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  <p:sldLayoutId id="2147483921" r:id="rId13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201">
          <a:solidFill>
            <a:schemeClr val="tx1"/>
          </a:solidFill>
          <a:latin typeface="+mn-lt"/>
          <a:ea typeface="+mn-ea"/>
          <a:cs typeface="+mn-cs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051">
          <a:solidFill>
            <a:schemeClr val="tx1"/>
          </a:solidFill>
          <a:latin typeface="+mn-lt"/>
          <a:cs typeface="+mn-cs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68021" y="1486348"/>
            <a:ext cx="1609415" cy="7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6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225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64201" y="3151373"/>
            <a:ext cx="1417055" cy="7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6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225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4383"/>
            <a:ext cx="4389768" cy="942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253097"/>
            <a:ext cx="6817285" cy="22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7" y="20671"/>
            <a:ext cx="655629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72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07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710653"/>
            <a:ext cx="8794113" cy="18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225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4702557"/>
            <a:ext cx="8722840" cy="11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766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4938515"/>
            <a:ext cx="7002570" cy="11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66893" indent="-466893" defTabSz="685749">
              <a:tabLst>
                <a:tab pos="469324" algn="l"/>
              </a:tabLst>
            </a:pPr>
            <a:r>
              <a:rPr lang="ru-RU" sz="766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766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809814"/>
            <a:ext cx="4350892" cy="442601"/>
            <a:chOff x="915" y="666"/>
            <a:chExt cx="2686" cy="36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6"/>
              <a:ext cx="2686" cy="36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379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sz="1379" dirty="0" smtClean="0">
                  <a:solidFill>
                    <a:srgbClr val="808080"/>
                  </a:solidFill>
                </a:rPr>
                <a:t>Unit of measure</a:t>
              </a:r>
              <a:endParaRPr lang="ru-RU" sz="1379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70038" bIns="70038" anchor="ctr"/>
          <a:lstStyle/>
          <a:p>
            <a:pPr>
              <a:defRPr/>
            </a:pPr>
            <a:endParaRPr lang="ru-RU" sz="1379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677275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70038" bIns="70038" anchor="ctr"/>
          <a:lstStyle/>
          <a:p>
            <a:pPr>
              <a:defRPr/>
            </a:pPr>
            <a:endParaRPr lang="ru-RU" sz="1379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8323" y="31868"/>
            <a:ext cx="905490" cy="60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89333"/>
            <a:ext cx="1022737" cy="551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9606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685749" rtl="0" eaLnBrk="1" fontAlgn="base" hangingPunct="1">
        <a:spcBef>
          <a:spcPct val="0"/>
        </a:spcBef>
        <a:spcAft>
          <a:spcPct val="0"/>
        </a:spcAft>
        <a:tabLst>
          <a:tab pos="273570" algn="l"/>
        </a:tabLst>
        <a:defRPr sz="145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5749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2pPr>
      <a:lvl3pPr algn="l" defTabSz="685749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3pPr>
      <a:lvl4pPr algn="l" defTabSz="685749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4pPr>
      <a:lvl5pPr algn="l" defTabSz="685749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5pPr>
      <a:lvl6pPr marL="350169" algn="l" defTabSz="685749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6pPr>
      <a:lvl7pPr marL="700339" algn="l" defTabSz="685749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7pPr>
      <a:lvl8pPr marL="1050508" algn="l" defTabSz="685749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8pPr>
      <a:lvl9pPr marL="1400678" algn="l" defTabSz="685749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5">
          <a:solidFill>
            <a:schemeClr val="tx1"/>
          </a:solidFill>
          <a:latin typeface="+mn-lt"/>
          <a:ea typeface="+mn-ea"/>
          <a:cs typeface="+mn-cs"/>
        </a:defRPr>
      </a:lvl1pPr>
      <a:lvl2pPr marL="148336" indent="-147120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5">
          <a:solidFill>
            <a:schemeClr val="tx1"/>
          </a:solidFill>
          <a:latin typeface="+mn-lt"/>
        </a:defRPr>
      </a:lvl2pPr>
      <a:lvl3pPr marL="350169" indent="-200618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5">
          <a:solidFill>
            <a:schemeClr val="tx1"/>
          </a:solidFill>
          <a:latin typeface="+mn-lt"/>
        </a:defRPr>
      </a:lvl3pPr>
      <a:lvl4pPr marL="470541" indent="-119155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5">
          <a:solidFill>
            <a:schemeClr val="tx1"/>
          </a:solidFill>
          <a:latin typeface="+mn-lt"/>
        </a:defRPr>
      </a:lvl4pPr>
      <a:lvl5pPr marL="574278" indent="-99701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5">
          <a:solidFill>
            <a:schemeClr val="tx1"/>
          </a:solidFill>
          <a:latin typeface="+mn-lt"/>
        </a:defRPr>
      </a:lvl5pPr>
      <a:lvl6pPr marL="574278" indent="-99701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5">
          <a:solidFill>
            <a:schemeClr val="tx1"/>
          </a:solidFill>
          <a:latin typeface="+mn-lt"/>
        </a:defRPr>
      </a:lvl6pPr>
      <a:lvl7pPr marL="574278" indent="-99701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5">
          <a:solidFill>
            <a:schemeClr val="tx1"/>
          </a:solidFill>
          <a:latin typeface="+mn-lt"/>
        </a:defRPr>
      </a:lvl7pPr>
      <a:lvl8pPr marL="574278" indent="-99701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5">
          <a:solidFill>
            <a:schemeClr val="tx1"/>
          </a:solidFill>
          <a:latin typeface="+mn-lt"/>
        </a:defRPr>
      </a:lvl8pPr>
      <a:lvl9pPr marL="574278" indent="-99701" algn="l" defTabSz="68574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1pPr>
      <a:lvl2pPr marL="350169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2pPr>
      <a:lvl3pPr marL="700339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3pPr>
      <a:lvl4pPr marL="1050508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4pPr>
      <a:lvl5pPr marL="1400678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5pPr>
      <a:lvl6pPr marL="1750847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6pPr>
      <a:lvl7pPr marL="2101017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7pPr>
      <a:lvl8pPr marL="2451186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8pPr>
      <a:lvl9pPr marL="2801356" algn="l" defTabSz="700339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8040377" y="361207"/>
            <a:ext cx="725904" cy="32995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94312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</p:sldLayoutIdLst>
  <p:hf sldNum="0"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8040377" y="361207"/>
            <a:ext cx="725904" cy="32995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52194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</p:sldLayoutIdLst>
  <p:hf sldNum="0"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341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7" r:id="rId4"/>
  </p:sldLayoutIdLst>
  <p:hf hd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311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4" r:id="rId5"/>
    <p:sldLayoutId id="2147483945" r:id="rId6"/>
  </p:sldLayoutIdLst>
  <p:hf hd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94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  <p:sldLayoutId id="2147483948" r:id="rId2"/>
    <p:sldLayoutId id="2147483949" r:id="rId3"/>
    <p:sldLayoutId id="2147483950" r:id="rId4"/>
    <p:sldLayoutId id="2147483951" r:id="rId5"/>
    <p:sldLayoutId id="2147483952" r:id="rId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910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9" r:id="rId5"/>
    <p:sldLayoutId id="2147483960" r:id="rId6"/>
  </p:sldLayoutIdLst>
  <p:hf hd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770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7" r:id="rId5"/>
    <p:sldLayoutId id="2147483968" r:id="rId6"/>
  </p:sldLayoutIdLst>
  <p:hf hd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4" r:id="rId2"/>
    <p:sldLayoutId id="2147483829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4098"/>
            <a:ext cx="7886700" cy="9950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70487"/>
            <a:ext cx="7886700" cy="3266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71678"/>
            <a:ext cx="2057400" cy="2740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9A9A10-F0B9-426C-8DEE-9290A3E21A90}" type="datetimeFigureOut">
              <a:rPr lang="ru-RU" smtClean="0"/>
              <a:t>22.09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71678"/>
            <a:ext cx="3086100" cy="2740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71678"/>
            <a:ext cx="2057400" cy="27409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B2022A-8608-4FC8-A512-7FA7013944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7095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</p:sldLayoutIdLst>
  <p:txStyles>
    <p:titleStyle>
      <a:lvl1pPr algn="l" defTabSz="686409" rtl="0" eaLnBrk="1" latinLnBrk="0" hangingPunct="1">
        <a:lnSpc>
          <a:spcPct val="90000"/>
        </a:lnSpc>
        <a:spcBef>
          <a:spcPct val="0"/>
        </a:spcBef>
        <a:buNone/>
        <a:defRPr sz="330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602" indent="-171602" algn="l" defTabSz="68640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2" kern="1200">
          <a:solidFill>
            <a:schemeClr val="tx1"/>
          </a:solidFill>
          <a:latin typeface="+mn-lt"/>
          <a:ea typeface="+mn-ea"/>
          <a:cs typeface="+mn-cs"/>
        </a:defRPr>
      </a:lvl1pPr>
      <a:lvl2pPr marL="514807" indent="-171602" algn="l" defTabSz="6864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2" kern="1200">
          <a:solidFill>
            <a:schemeClr val="tx1"/>
          </a:solidFill>
          <a:latin typeface="+mn-lt"/>
          <a:ea typeface="+mn-ea"/>
          <a:cs typeface="+mn-cs"/>
        </a:defRPr>
      </a:lvl2pPr>
      <a:lvl3pPr marL="858012" indent="-171602" algn="l" defTabSz="6864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2" kern="1200">
          <a:solidFill>
            <a:schemeClr val="tx1"/>
          </a:solidFill>
          <a:latin typeface="+mn-lt"/>
          <a:ea typeface="+mn-ea"/>
          <a:cs typeface="+mn-cs"/>
        </a:defRPr>
      </a:lvl3pPr>
      <a:lvl4pPr marL="1201216" indent="-171602" algn="l" defTabSz="6864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544421" indent="-171602" algn="l" defTabSz="6864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887626" indent="-171602" algn="l" defTabSz="6864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30830" indent="-171602" algn="l" defTabSz="6864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4035" indent="-171602" algn="l" defTabSz="6864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7239" indent="-171602" algn="l" defTabSz="68640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05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09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14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18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023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228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432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637" algn="l" defTabSz="68640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68021" y="1486358"/>
            <a:ext cx="1609415" cy="7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6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226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64201" y="3151383"/>
            <a:ext cx="1417055" cy="70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7003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6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226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7" y="253106"/>
            <a:ext cx="6817285" cy="223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7" y="20671"/>
            <a:ext cx="655629" cy="164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</a:pPr>
            <a:r>
              <a:rPr lang="ru-RU" sz="1072" dirty="0" smtClean="0">
                <a:solidFill>
                  <a:srgbClr val="808080"/>
                </a:solidFill>
              </a:rPr>
              <a:t>TRACKER</a:t>
            </a:r>
            <a:endParaRPr lang="ru-RU" sz="1072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1" y="710652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2556"/>
            <a:ext cx="8722840" cy="11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66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6"/>
            <a:ext cx="7002570" cy="117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66326" indent="-466326" defTabSz="684915" fontAlgn="base">
              <a:spcBef>
                <a:spcPct val="0"/>
              </a:spcBef>
              <a:spcAft>
                <a:spcPct val="0"/>
              </a:spcAft>
              <a:tabLst>
                <a:tab pos="468754" algn="l"/>
              </a:tabLst>
            </a:pPr>
            <a:r>
              <a:rPr lang="ru-RU" sz="766" dirty="0" smtClean="0">
                <a:solidFill>
                  <a:srgbClr val="000000"/>
                </a:solidFill>
              </a:rPr>
              <a:t>ИСТОЧНИК: источник</a:t>
            </a:r>
            <a:endParaRPr lang="ru-RU" sz="766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2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70038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69947" tIns="69947" rIns="69947" bIns="69947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79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69947" tIns="69947" rIns="69947" bIns="69947" anchor="ctr"/>
          <a:lstStyle/>
          <a:p>
            <a:pPr defTabSz="70038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79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8323" y="31869"/>
            <a:ext cx="905490" cy="60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182" y="89333"/>
            <a:ext cx="1022738" cy="551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7621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84915" rtl="0" eaLnBrk="1" fontAlgn="base" hangingPunct="1">
        <a:spcBef>
          <a:spcPct val="0"/>
        </a:spcBef>
        <a:spcAft>
          <a:spcPct val="0"/>
        </a:spcAft>
        <a:tabLst>
          <a:tab pos="273238" algn="l"/>
        </a:tabLst>
        <a:defRPr sz="145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2pPr>
      <a:lvl3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3pPr>
      <a:lvl4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4pPr>
      <a:lvl5pPr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5pPr>
      <a:lvl6pPr marL="349740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6pPr>
      <a:lvl7pPr marL="699491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7pPr>
      <a:lvl8pPr marL="1049236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8pPr>
      <a:lvl9pPr marL="1398976" algn="l" defTabSz="684915" rtl="0" eaLnBrk="1" fontAlgn="base" hangingPunct="1">
        <a:spcBef>
          <a:spcPct val="0"/>
        </a:spcBef>
        <a:spcAft>
          <a:spcPct val="0"/>
        </a:spcAft>
        <a:defRPr sz="145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48156" indent="-146942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49740" indent="-200375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69971" indent="-119012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73581" indent="-99580" algn="l" defTabSz="6849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1pPr>
      <a:lvl2pPr marL="349740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2pPr>
      <a:lvl3pPr marL="699491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3pPr>
      <a:lvl4pPr marL="104923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4pPr>
      <a:lvl5pPr marL="139897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5pPr>
      <a:lvl6pPr marL="1748723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6pPr>
      <a:lvl7pPr marL="2098468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7pPr>
      <a:lvl8pPr marL="2448211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8pPr>
      <a:lvl9pPr marL="2797956" algn="l" defTabSz="699491" rtl="0" eaLnBrk="1" latinLnBrk="0" hangingPunct="1">
        <a:defRPr sz="13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23" r:id="rId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08" r:id="rId2"/>
    <p:sldLayoutId id="2147483828" r:id="rId3"/>
    <p:sldLayoutId id="2147483985" r:id="rId4"/>
    <p:sldLayoutId id="2147483986" r:id="rId5"/>
    <p:sldLayoutId id="2147483987" r:id="rId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25" r:id="rId2"/>
    <p:sldLayoutId id="2147483826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33204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40798"/>
            <a:ext cx="627062" cy="283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652" b="1">
                <a:solidFill>
                  <a:schemeClr val="hlink"/>
                </a:solidFill>
              </a:defRPr>
            </a:lvl1pPr>
          </a:lstStyle>
          <a:p>
            <a:fld id="{16CC8587-BAAD-4D84-B938-130480D73C62}" type="slidenum">
              <a:rPr lang="ru-RU" altLang="ru-RU"/>
              <a:pPr/>
              <a:t>‹#›</a:t>
            </a:fld>
            <a:endParaRPr lang="ru-RU" altLang="ru-RU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935"/>
            <a:ext cx="8424862" cy="3864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79846"/>
            <a:ext cx="887412" cy="5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6436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</p:sldLayoutIdLst>
  <p:transition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5pPr>
      <a:lvl6pPr marL="34322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6pPr>
      <a:lvl7pPr marL="68644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7pPr>
      <a:lvl8pPr marL="102966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8pPr>
      <a:lvl9pPr marL="1372880" algn="l" rtl="0" fontAlgn="base">
        <a:spcBef>
          <a:spcPct val="0"/>
        </a:spcBef>
        <a:spcAft>
          <a:spcPct val="0"/>
        </a:spcAft>
        <a:defRPr sz="1501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35858" indent="-1358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201">
          <a:solidFill>
            <a:schemeClr val="tx1"/>
          </a:solidFill>
          <a:latin typeface="+mn-lt"/>
          <a:ea typeface="+mn-ea"/>
          <a:cs typeface="+mn-cs"/>
        </a:defRPr>
      </a:lvl1pPr>
      <a:lvl2pPr marL="270525" indent="-1334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051">
          <a:solidFill>
            <a:schemeClr val="tx1"/>
          </a:solidFill>
          <a:latin typeface="+mn-lt"/>
          <a:cs typeface="+mn-cs"/>
        </a:defRPr>
      </a:lvl2pPr>
      <a:lvl3pPr marL="872351" indent="-201404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1652">
          <a:solidFill>
            <a:schemeClr val="tx1"/>
          </a:solidFill>
          <a:latin typeface="+mn-lt"/>
          <a:cs typeface="+mn-cs"/>
        </a:defRPr>
      </a:lvl3pPr>
      <a:lvl4pPr marL="1250132" indent="-171610" algn="l" rtl="0" eaLnBrk="0" fontAlgn="base" hangingPunct="0">
        <a:spcBef>
          <a:spcPct val="20000"/>
        </a:spcBef>
        <a:spcAft>
          <a:spcPct val="0"/>
        </a:spcAft>
        <a:buChar char="–"/>
        <a:defRPr sz="1501">
          <a:solidFill>
            <a:schemeClr val="tx1"/>
          </a:solidFill>
          <a:latin typeface="+mn-lt"/>
          <a:cs typeface="+mn-cs"/>
        </a:defRPr>
      </a:lvl4pPr>
      <a:lvl5pPr marL="1556408" indent="-171610" algn="l" rtl="0" eaLnBrk="0" fontAlgn="base" hangingPunct="0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5pPr>
      <a:lvl6pPr marL="189962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6pPr>
      <a:lvl7pPr marL="224284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7pPr>
      <a:lvl8pPr marL="258606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8pPr>
      <a:lvl9pPr marL="2929288" indent="-171610" algn="l" rtl="0" fontAlgn="base">
        <a:spcBef>
          <a:spcPct val="20000"/>
        </a:spcBef>
        <a:spcAft>
          <a:spcPct val="0"/>
        </a:spcAft>
        <a:buChar char="»"/>
        <a:defRPr sz="150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8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10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32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54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760" algn="l" defTabSz="686440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5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5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318535" y="1485049"/>
            <a:ext cx="1508426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Last Modified 25.04.2014 19:06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03474" y="3150068"/>
            <a:ext cx="1338508" cy="7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2261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77" dirty="0" smtClean="0">
                <a:solidFill>
                  <a:srgbClr val="000000"/>
                </a:solidFill>
              </a:rPr>
              <a:t>Printed 24.04.2014 20:59 Russian Standard Time</a:t>
            </a:r>
            <a:endParaRPr lang="ru-RU" sz="1089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4383"/>
            <a:ext cx="4389768" cy="942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9183" y="223393"/>
            <a:ext cx="7945099" cy="23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9182" y="20671"/>
            <a:ext cx="666849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r>
              <a:rPr lang="ru-RU" sz="1089" dirty="0" smtClean="0">
                <a:solidFill>
                  <a:srgbClr val="808080"/>
                </a:solidFill>
              </a:rPr>
              <a:t>TRACKER</a:t>
            </a:r>
            <a:endParaRPr lang="ru-RU" sz="1089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09" y="710653"/>
            <a:ext cx="8794113" cy="18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26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0" y="4705121"/>
            <a:ext cx="872284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49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4938515"/>
            <a:ext cx="7002570" cy="11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75417" indent="-475417" defTabSz="698266" fontAlgn="base">
              <a:spcBef>
                <a:spcPct val="0"/>
              </a:spcBef>
              <a:spcAft>
                <a:spcPct val="0"/>
              </a:spcAft>
              <a:tabLst>
                <a:tab pos="477892" algn="l"/>
              </a:tabLst>
            </a:pPr>
            <a:r>
              <a:rPr lang="ru-RU" sz="749" dirty="0" smtClean="0">
                <a:solidFill>
                  <a:srgbClr val="000000"/>
                </a:solidFill>
              </a:rPr>
              <a:t>ИСТОЧНИК: источник</a:t>
            </a:r>
            <a:endParaRPr lang="ru-RU" sz="749" dirty="0">
              <a:solidFill>
                <a:srgbClr val="00000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6" y="857233"/>
            <a:ext cx="4350891" cy="395178"/>
            <a:chOff x="915" y="705"/>
            <a:chExt cx="2686" cy="32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5"/>
              <a:ext cx="2686" cy="3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26" dirty="0" smtClean="0">
                  <a:solidFill>
                    <a:srgbClr val="808080"/>
                  </a:solidFill>
                </a:rPr>
                <a:t>Unit of measure</a:t>
              </a:r>
              <a:endParaRPr lang="ru-RU" sz="1226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4845496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677276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1308" tIns="71308" rIns="71308" bIns="71308" anchor="ctr"/>
          <a:lstStyle/>
          <a:p>
            <a:pPr defTabSz="6226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3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>
          <a:xfrm>
            <a:off x="8719607" y="4929395"/>
            <a:ext cx="213009" cy="1167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2261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681" smtClean="0">
                <a:solidFill>
                  <a:srgbClr val="000000"/>
                </a:solidFill>
              </a:rPr>
              <a:pPr defTabSz="62261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68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49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50" r:id="rId4"/>
    <p:sldLayoutId id="2147483852" r:id="rId5"/>
  </p:sldLayoutIdLst>
  <p:hf sldNum="0" hdr="0" ftr="0" dt="0"/>
  <p:txStyles>
    <p:titleStyle>
      <a:lvl1pPr algn="l" defTabSz="698266" rtl="0" eaLnBrk="1" fontAlgn="base" hangingPunct="1">
        <a:spcBef>
          <a:spcPct val="0"/>
        </a:spcBef>
        <a:spcAft>
          <a:spcPct val="0"/>
        </a:spcAft>
        <a:tabLst>
          <a:tab pos="278564" algn="l"/>
        </a:tabLst>
        <a:defRPr sz="149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2pPr>
      <a:lvl3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3pPr>
      <a:lvl4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4pPr>
      <a:lvl5pPr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5pPr>
      <a:lvl6pPr marL="356553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6pPr>
      <a:lvl7pPr marL="713124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7pPr>
      <a:lvl8pPr marL="1069686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8pPr>
      <a:lvl9pPr marL="1426248" algn="l" defTabSz="698266" rtl="0" eaLnBrk="1" fontAlgn="base" hangingPunct="1">
        <a:spcBef>
          <a:spcPct val="0"/>
        </a:spcBef>
        <a:spcAft>
          <a:spcPct val="0"/>
        </a:spcAft>
        <a:defRPr sz="1498" b="1">
          <a:solidFill>
            <a:schemeClr val="tx2"/>
          </a:solidFill>
          <a:latin typeface="Arial" charset="0"/>
        </a:defRPr>
      </a:lvl9pPr>
    </p:titleStyle>
    <p:bodyStyle>
      <a:lvl1pPr marL="0" indent="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6">
          <a:solidFill>
            <a:schemeClr val="tx1"/>
          </a:solidFill>
          <a:latin typeface="+mn-lt"/>
          <a:ea typeface="+mn-ea"/>
          <a:cs typeface="+mn-cs"/>
        </a:defRPr>
      </a:lvl1pPr>
      <a:lvl2pPr marL="151045" indent="-149807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6">
          <a:solidFill>
            <a:schemeClr val="tx1"/>
          </a:solidFill>
          <a:latin typeface="+mn-lt"/>
        </a:defRPr>
      </a:lvl2pPr>
      <a:lvl3pPr marL="356553" indent="-20428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6">
          <a:solidFill>
            <a:schemeClr val="tx1"/>
          </a:solidFill>
          <a:latin typeface="+mn-lt"/>
        </a:defRPr>
      </a:lvl3pPr>
      <a:lvl4pPr marL="479132" indent="-121332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6">
          <a:solidFill>
            <a:schemeClr val="tx1"/>
          </a:solidFill>
          <a:latin typeface="+mn-lt"/>
        </a:defRPr>
      </a:lvl4pPr>
      <a:lvl5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5pPr>
      <a:lvl6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6pPr>
      <a:lvl7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7pPr>
      <a:lvl8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8pPr>
      <a:lvl9pPr marL="584762" indent="-101520" algn="l" defTabSz="698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1pPr>
      <a:lvl2pPr marL="356553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2pPr>
      <a:lvl3pPr marL="713124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3pPr>
      <a:lvl4pPr marL="106968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4pPr>
      <a:lvl5pPr marL="1426248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5pPr>
      <a:lvl6pPr marL="1782809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6pPr>
      <a:lvl7pPr marL="2139371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7pPr>
      <a:lvl8pPr marL="2495932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8pPr>
      <a:lvl9pPr marL="2852496" algn="l" defTabSz="713124" rtl="0" eaLnBrk="1" latinLnBrk="0" hangingPunct="1">
        <a:defRPr sz="14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7.xml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diagramLayout" Target="../diagrams/layout1.xml"/><Relationship Id="rId7" Type="http://schemas.openxmlformats.org/officeDocument/2006/relationships/image" Target="../media/image2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3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hyperlink" Target="http://www.aharrisonbarnes.com/wp-content/uploads/2008/12/demingpicture.jpg" TargetMode="External"/><Relationship Id="rId5" Type="http://schemas.openxmlformats.org/officeDocument/2006/relationships/image" Target="../media/image32.jpeg"/><Relationship Id="rId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13" Type="http://schemas.openxmlformats.org/officeDocument/2006/relationships/image" Target="../media/image44.png"/><Relationship Id="rId18" Type="http://schemas.openxmlformats.org/officeDocument/2006/relationships/image" Target="../media/image49.png"/><Relationship Id="rId26" Type="http://schemas.openxmlformats.org/officeDocument/2006/relationships/image" Target="../media/image55.jpeg"/><Relationship Id="rId3" Type="http://schemas.openxmlformats.org/officeDocument/2006/relationships/image" Target="../media/image36.png"/><Relationship Id="rId21" Type="http://schemas.openxmlformats.org/officeDocument/2006/relationships/image" Target="../media/image52.jpeg"/><Relationship Id="rId7" Type="http://schemas.openxmlformats.org/officeDocument/2006/relationships/image" Target="../media/image38.jpeg"/><Relationship Id="rId12" Type="http://schemas.openxmlformats.org/officeDocument/2006/relationships/image" Target="../media/image43.gif"/><Relationship Id="rId17" Type="http://schemas.openxmlformats.org/officeDocument/2006/relationships/image" Target="../media/image48.png"/><Relationship Id="rId25" Type="http://schemas.openxmlformats.org/officeDocument/2006/relationships/image" Target="../media/image54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47.gif"/><Relationship Id="rId20" Type="http://schemas.openxmlformats.org/officeDocument/2006/relationships/image" Target="../media/image51.png"/><Relationship Id="rId29" Type="http://schemas.openxmlformats.org/officeDocument/2006/relationships/image" Target="../media/image58.jpeg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7.png"/><Relationship Id="rId11" Type="http://schemas.openxmlformats.org/officeDocument/2006/relationships/image" Target="../media/image42.gif"/><Relationship Id="rId24" Type="http://schemas.openxmlformats.org/officeDocument/2006/relationships/image" Target="../media/image53.jpeg"/><Relationship Id="rId5" Type="http://schemas.openxmlformats.org/officeDocument/2006/relationships/image" Target="../media/image34.png"/><Relationship Id="rId15" Type="http://schemas.openxmlformats.org/officeDocument/2006/relationships/image" Target="../media/image46.png"/><Relationship Id="rId23" Type="http://schemas.openxmlformats.org/officeDocument/2006/relationships/image" Target="../media/image35.png"/><Relationship Id="rId28" Type="http://schemas.openxmlformats.org/officeDocument/2006/relationships/image" Target="../media/image57.gif"/><Relationship Id="rId10" Type="http://schemas.openxmlformats.org/officeDocument/2006/relationships/image" Target="../media/image41.jpeg"/><Relationship Id="rId19" Type="http://schemas.openxmlformats.org/officeDocument/2006/relationships/image" Target="../media/image50.gi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0.png"/><Relationship Id="rId14" Type="http://schemas.openxmlformats.org/officeDocument/2006/relationships/image" Target="../media/image45.gif"/><Relationship Id="rId22" Type="http://schemas.openxmlformats.org/officeDocument/2006/relationships/oleObject" Target="../embeddings/oleObject13.bin"/><Relationship Id="rId27" Type="http://schemas.openxmlformats.org/officeDocument/2006/relationships/image" Target="../media/image56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wmf"/><Relationship Id="rId2" Type="http://schemas.openxmlformats.org/officeDocument/2006/relationships/image" Target="../media/image59.wmf"/><Relationship Id="rId1" Type="http://schemas.openxmlformats.org/officeDocument/2006/relationships/slideLayout" Target="../slideLayouts/slideLayout99.xml"/><Relationship Id="rId4" Type="http://schemas.openxmlformats.org/officeDocument/2006/relationships/image" Target="../media/image6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71.png"/><Relationship Id="rId18" Type="http://schemas.openxmlformats.org/officeDocument/2006/relationships/image" Target="../media/image17.svg"/><Relationship Id="rId3" Type="http://schemas.openxmlformats.org/officeDocument/2006/relationships/image" Target="../media/image67.png"/><Relationship Id="rId7" Type="http://schemas.openxmlformats.org/officeDocument/2006/relationships/image" Target="../media/image68.png"/><Relationship Id="rId12" Type="http://schemas.openxmlformats.org/officeDocument/2006/relationships/image" Target="../media/image11.svg"/><Relationship Id="rId17" Type="http://schemas.openxmlformats.org/officeDocument/2006/relationships/image" Target="../media/image73.png"/><Relationship Id="rId2" Type="http://schemas.openxmlformats.org/officeDocument/2006/relationships/image" Target="../media/image66.jpeg"/><Relationship Id="rId16" Type="http://schemas.openxmlformats.org/officeDocument/2006/relationships/image" Target="../media/image15.svg"/><Relationship Id="rId20" Type="http://schemas.openxmlformats.org/officeDocument/2006/relationships/image" Target="../media/image19.sv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.svg"/><Relationship Id="rId11" Type="http://schemas.openxmlformats.org/officeDocument/2006/relationships/image" Target="../media/image70.png"/><Relationship Id="rId15" Type="http://schemas.openxmlformats.org/officeDocument/2006/relationships/image" Target="../media/image72.png"/><Relationship Id="rId10" Type="http://schemas.openxmlformats.org/officeDocument/2006/relationships/image" Target="../media/image9.svg"/><Relationship Id="rId19" Type="http://schemas.openxmlformats.org/officeDocument/2006/relationships/image" Target="../media/image74.png"/><Relationship Id="rId9" Type="http://schemas.openxmlformats.org/officeDocument/2006/relationships/image" Target="../media/image69.png"/><Relationship Id="rId14" Type="http://schemas.openxmlformats.org/officeDocument/2006/relationships/image" Target="../media/image1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>
            <a:extLst>
              <a:ext uri="{FF2B5EF4-FFF2-40B4-BE49-F238E27FC236}">
                <a16:creationId xmlns:a16="http://schemas.microsoft.com/office/drawing/2014/main" id="{D0CD99AE-1957-436F-910B-C67DAAD387EA}"/>
              </a:ext>
            </a:extLst>
          </p:cNvPr>
          <p:cNvSpPr txBox="1">
            <a:spLocks noChangeArrowheads="1"/>
          </p:cNvSpPr>
          <p:nvPr/>
        </p:nvSpPr>
        <p:spPr>
          <a:xfrm>
            <a:off x="597636" y="4577247"/>
            <a:ext cx="2741094" cy="307189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R="0" indent="0" fontAlgn="auto">
              <a:lnSpc>
                <a:spcPct val="13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5143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2pPr>
            <a:lvl3pPr marL="8572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defTabSz="913455">
              <a:spcAft>
                <a:spcPts val="599"/>
              </a:spcAft>
            </a:pPr>
            <a:r>
              <a:rPr lang="ru-RU" altLang="ru-RU" sz="1400" b="0" dirty="0" smtClean="0">
                <a:solidFill>
                  <a:schemeClr val="tx1"/>
                </a:solidFill>
              </a:rPr>
              <a:t>2023 г.</a:t>
            </a:r>
            <a:endParaRPr lang="ru-RU" altLang="ru-RU" sz="1400" b="0" dirty="0">
              <a:solidFill>
                <a:schemeClr val="tx1"/>
              </a:solidFill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896019" y="1785617"/>
            <a:ext cx="6969089" cy="975612"/>
          </a:xfrm>
          <a:prstGeom prst="rect">
            <a:avLst/>
          </a:prstGeom>
        </p:spPr>
        <p:txBody>
          <a:bodyPr anchor="b"/>
          <a:lstStyle>
            <a:lvl1pPr algn="ctr" defTabSz="68579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9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400" b="1" kern="0" dirty="0" smtClean="0">
                <a:solidFill>
                  <a:srgbClr val="002960"/>
                </a:solidFill>
              </a:rPr>
              <a:t>Основы бережливых технологий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5C99520C-FB28-4EA1-8933-4A5D07151EC4}"/>
              </a:ext>
            </a:extLst>
          </p:cNvPr>
          <p:cNvSpPr/>
          <p:nvPr/>
        </p:nvSpPr>
        <p:spPr>
          <a:xfrm>
            <a:off x="4428839" y="465332"/>
            <a:ext cx="1999010" cy="6435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7910">
              <a:lnSpc>
                <a:spcPts val="2265"/>
              </a:lnSpc>
            </a:pPr>
            <a:r>
              <a:rPr lang="ru-RU" sz="1200" spc="2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>Правительство</a:t>
            </a:r>
            <a:r>
              <a:rPr lang="ru-RU" sz="1600" spc="2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  <a:t/>
            </a:r>
            <a:br>
              <a:rPr lang="ru-RU" sz="1600" spc="2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</a:rPr>
            </a:br>
            <a:r>
              <a:rPr lang="ru-RU" sz="1200" spc="20" dirty="0">
                <a:solidFill>
                  <a:srgbClr val="5B9BD5"/>
                </a:solidFill>
                <a:latin typeface="Arial"/>
              </a:rPr>
              <a:t>Ростовской области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8730" y="172205"/>
            <a:ext cx="766795" cy="1168448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/>
        </p:nvCxnSpPr>
        <p:spPr>
          <a:xfrm>
            <a:off x="4342948" y="525214"/>
            <a:ext cx="0" cy="548555"/>
          </a:xfrm>
          <a:prstGeom prst="line">
            <a:avLst/>
          </a:prstGeom>
          <a:ln w="15875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7032" y="440547"/>
            <a:ext cx="818384" cy="631764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13B5882-4B27-433C-9FAD-FA642A8C6D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9388" y="317315"/>
            <a:ext cx="716921" cy="878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637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auto">
          <a:xfrm>
            <a:off x="628426" y="232875"/>
            <a:ext cx="511739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69826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8564" algn="l"/>
              </a:tabLst>
              <a:defRPr sz="1498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2pPr>
            <a:lvl3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3pPr>
            <a:lvl4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4pPr>
            <a:lvl5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5pPr>
            <a:lvl6pPr marL="356553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6pPr>
            <a:lvl7pPr marL="713124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7pPr>
            <a:lvl8pPr marL="1069686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8pPr>
            <a:lvl9pPr marL="1426248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698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8564" algn="l"/>
              </a:tabLst>
              <a:defRPr/>
            </a:pPr>
            <a:r>
              <a:rPr lang="ru-RU" sz="18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ципы </a:t>
            </a:r>
            <a:r>
              <a:rPr lang="ru-RU" sz="18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ежливых технологий</a:t>
            </a:r>
            <a:endParaRPr lang="ru-RU" sz="18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82374" y="723742"/>
            <a:ext cx="7965840" cy="581249"/>
          </a:xfrm>
          <a:prstGeom prst="rect">
            <a:avLst/>
          </a:prstGeom>
        </p:spPr>
        <p:txBody>
          <a:bodyPr wrap="square" lIns="87949" tIns="43974" rIns="87949" bIns="43974">
            <a:spAutoFit/>
          </a:bodyPr>
          <a:lstStyle/>
          <a:p>
            <a:pPr defTabSz="963672"/>
            <a:r>
              <a:rPr lang="ru-RU" sz="1600" dirty="0" smtClean="0">
                <a:solidFill>
                  <a:srgbClr val="002060"/>
                </a:solidFill>
                <a:cs typeface="Arial" panose="020B0604020202020204" pitchFamily="34" charset="0"/>
              </a:rPr>
              <a:t>Это</a:t>
            </a:r>
            <a:r>
              <a:rPr lang="ru-RU" sz="1600" b="1" dirty="0" smtClean="0">
                <a:solidFill>
                  <a:srgbClr val="002060"/>
                </a:solidFill>
                <a:cs typeface="Arial" panose="020B0604020202020204" pitchFamily="34" charset="0"/>
              </a:rPr>
              <a:t> культура</a:t>
            </a:r>
            <a:r>
              <a:rPr lang="ru-RU" sz="1600" dirty="0" smtClean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cs typeface="Arial" panose="020B0604020202020204" pitchFamily="34" charset="0"/>
              </a:rPr>
              <a:t>бережливого производства и </a:t>
            </a:r>
            <a:r>
              <a:rPr lang="ru-RU" sz="1600" b="1" dirty="0">
                <a:solidFill>
                  <a:srgbClr val="002060"/>
                </a:solidFill>
                <a:cs typeface="Arial" panose="020B0604020202020204" pitchFamily="34" charset="0"/>
              </a:rPr>
              <a:t>система</a:t>
            </a:r>
            <a:r>
              <a:rPr lang="ru-RU" sz="1600" dirty="0">
                <a:solidFill>
                  <a:srgbClr val="002060"/>
                </a:solidFill>
                <a:cs typeface="Arial" panose="020B0604020202020204" pitchFamily="34" charset="0"/>
              </a:rPr>
              <a:t> непрерывного совершенствования процессов для обеспечения конкурентного преимущества на мировом уровне</a:t>
            </a: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274443412"/>
              </p:ext>
            </p:extLst>
          </p:nvPr>
        </p:nvGraphicFramePr>
        <p:xfrm>
          <a:off x="3409986" y="1518859"/>
          <a:ext cx="4671671" cy="33072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182292" y="1644358"/>
            <a:ext cx="324128" cy="2934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98835"/>
            <a:r>
              <a:rPr lang="ru-RU" sz="1307" dirty="0">
                <a:solidFill>
                  <a:srgbClr val="002060"/>
                </a:solidFill>
                <a:latin typeface="Arial"/>
              </a:rPr>
              <a:t>1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194997" y="2333374"/>
            <a:ext cx="324128" cy="2934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98835"/>
            <a:r>
              <a:rPr lang="ru-RU" sz="1307" dirty="0">
                <a:solidFill>
                  <a:srgbClr val="002060"/>
                </a:solidFill>
                <a:latin typeface="Arial"/>
              </a:rPr>
              <a:t>2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194997" y="3022389"/>
            <a:ext cx="324128" cy="2934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98835"/>
            <a:r>
              <a:rPr lang="ru-RU" sz="1307" dirty="0">
                <a:solidFill>
                  <a:srgbClr val="002060"/>
                </a:solidFill>
                <a:latin typeface="Arial"/>
              </a:rPr>
              <a:t>3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189514" y="3711405"/>
            <a:ext cx="324128" cy="2934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98835"/>
            <a:r>
              <a:rPr lang="ru-RU" sz="1307" dirty="0">
                <a:solidFill>
                  <a:srgbClr val="002060"/>
                </a:solidFill>
                <a:latin typeface="Arial"/>
              </a:rPr>
              <a:t>4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182292" y="4422250"/>
            <a:ext cx="324128" cy="2934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98835"/>
            <a:r>
              <a:rPr lang="ru-RU" sz="1307" dirty="0">
                <a:solidFill>
                  <a:srgbClr val="002060"/>
                </a:solidFill>
                <a:latin typeface="Arial"/>
              </a:rPr>
              <a:t>5.</a:t>
            </a:r>
          </a:p>
        </p:txBody>
      </p:sp>
      <p:pic>
        <p:nvPicPr>
          <p:cNvPr id="15" name="Picture 3"/>
          <p:cNvPicPr/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500" t="9437" r="32230" b="5503"/>
          <a:stretch/>
        </p:blipFill>
        <p:spPr bwMode="auto">
          <a:xfrm>
            <a:off x="875729" y="1376152"/>
            <a:ext cx="2695244" cy="3585951"/>
          </a:xfrm>
          <a:prstGeom prst="rect">
            <a:avLst/>
          </a:prstGeom>
          <a:noFill/>
          <a:ln>
            <a:noFill/>
          </a:ln>
          <a:extLst/>
        </p:spPr>
      </p:pic>
    </p:spTree>
    <p:extLst>
      <p:ext uri="{BB962C8B-B14F-4D97-AF65-F5344CB8AC3E}">
        <p14:creationId xmlns:p14="http://schemas.microsoft.com/office/powerpoint/2010/main" val="37328605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idx="4294967295"/>
            <p:extLst/>
          </p:nvPr>
        </p:nvGraphicFramePr>
        <p:xfrm>
          <a:off x="2295104" y="752919"/>
          <a:ext cx="5807418" cy="408882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5078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36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85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273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82857">
                <a:tc>
                  <a:txBody>
                    <a:bodyPr/>
                    <a:lstStyle/>
                    <a:p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Генри Форд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24" marR="70624" marT="32811" marB="3281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914 г.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24" marR="70624" marT="32811" marB="3281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США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24" marR="70624" marT="32811" marB="3281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Концепция  поточного (конвейерного) производства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24" marR="70624" marT="32811" marB="32811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26723">
                <a:tc>
                  <a:txBody>
                    <a:bodyPr/>
                    <a:lstStyle/>
                    <a:p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Алексей Капитонович</a:t>
                      </a:r>
                    </a:p>
                    <a:p>
                      <a:r>
                        <a:rPr lang="ru-RU" sz="1600" b="0" kern="120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Гастев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24" marR="70624" marT="32811" marB="32811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0-30-е годы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24" marR="70624" marT="32811" marB="32811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СССР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24" marR="70624" marT="32811" marB="32811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Система НОТ (Научная Организация Труда)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24" marR="70624" marT="32811" marB="32811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26723">
                <a:tc>
                  <a:txBody>
                    <a:bodyPr/>
                    <a:lstStyle/>
                    <a:p>
                      <a:r>
                        <a:rPr lang="ru-RU" alt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Э́двард </a:t>
                      </a:r>
                      <a:r>
                        <a:rPr lang="ru-RU" altLang="ru-RU" sz="1600" b="0" kern="120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Де́минг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24" marR="70624" marT="32811" marB="32811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0-е годы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24" marR="70624" marT="32811" marB="32811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США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24" marR="70624" marT="32811" marB="32811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alt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Цикл </a:t>
                      </a:r>
                      <a:r>
                        <a:rPr lang="en-US" alt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PDCA</a:t>
                      </a:r>
                      <a:br>
                        <a:rPr lang="en-US" alt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alt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4 принципов качества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24" marR="70624" marT="32811" marB="32811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52520">
                <a:tc>
                  <a:txBody>
                    <a:bodyPr/>
                    <a:lstStyle/>
                    <a:p>
                      <a:r>
                        <a:rPr lang="ru-RU" sz="1600" b="0" kern="120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Тайити</a:t>
                      </a: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Оно 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24" marR="70624" marT="32811" marB="32811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50-е годы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24" marR="70624" marT="32811" marB="32811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Япония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24" marR="70624" marT="32811" marB="32811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7 </a:t>
                      </a: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видов</a:t>
                      </a:r>
                      <a:r>
                        <a:rPr lang="ru-RU" sz="1600" b="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потерь</a:t>
                      </a:r>
                      <a:r>
                        <a:rPr lang="en-US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600" b="0" kern="120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Тoyota</a:t>
                      </a: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b="0" kern="120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Production</a:t>
                      </a: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b="0" kern="1200" dirty="0" err="1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System</a:t>
                      </a: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 (TPS)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624" marR="70624" marT="32811" marB="32811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3" name="Picture 6" descr="http://www.leaninfo.ru/wp-content/uploads/2010/03/2010-03-02_000030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" t="-19147" r="-493" b="28708"/>
          <a:stretch/>
        </p:blipFill>
        <p:spPr bwMode="auto">
          <a:xfrm>
            <a:off x="1238651" y="3616007"/>
            <a:ext cx="856148" cy="1159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4647" y="735528"/>
            <a:ext cx="844158" cy="1001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" descr="http://ouc.ru/img/autors/gaste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1106" y="1846525"/>
            <a:ext cx="831243" cy="96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Картинка 2 из 3909">
            <a:hlinkClick r:id="rId6"/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158"/>
          <a:stretch/>
        </p:blipFill>
        <p:spPr bwMode="auto">
          <a:xfrm>
            <a:off x="1251106" y="2785302"/>
            <a:ext cx="847540" cy="953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9621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 descr="C:\Users\amponomarenko.ROSATOM-ACADEMY\Desktop\методички ТВЭЛ\Управление улучшениями\логотипы\glavstroy-20379_240x240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883" y="927121"/>
            <a:ext cx="1538985" cy="103809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7" name="Объект 16"/>
          <p:cNvGraphicFramePr>
            <a:graphicFrameLocks/>
          </p:cNvGraphicFramePr>
          <p:nvPr>
            <p:extLst/>
          </p:nvPr>
        </p:nvGraphicFramePr>
        <p:xfrm>
          <a:off x="4480419" y="942762"/>
          <a:ext cx="1177426" cy="7450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Точечный рисунок" r:id="rId4" imgW="0" imgH="0" progId="PBrush">
                  <p:embed/>
                </p:oleObj>
              </mc:Choice>
              <mc:Fallback>
                <p:oleObj name="Точечный рисунок" r:id="rId4" imgW="0" imgH="0" progId="PBrush">
                  <p:embed/>
                  <p:pic>
                    <p:nvPicPr>
                      <p:cNvPr id="17" name="Объект 16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80419" y="942762"/>
                        <a:ext cx="1177426" cy="745077"/>
                      </a:xfrm>
                      <a:prstGeom prst="rect">
                        <a:avLst/>
                      </a:prstGeom>
                      <a:solidFill>
                        <a:srgbClr val="FFFFFF"/>
                      </a:solidFill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Рисунок 13" descr="C:\Users\amponomarenko.ROSATOM-ACADEMY\Desktop\методички ТВЭЛ\Управление улучшениями\логотипы\severstal-5269_240x240.png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3706" y="3866036"/>
            <a:ext cx="1025374" cy="946498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/>
          <p:cNvSpPr txBox="1"/>
          <p:nvPr/>
        </p:nvSpPr>
        <p:spPr>
          <a:xfrm>
            <a:off x="1150784" y="98474"/>
            <a:ext cx="5374322" cy="530431"/>
          </a:xfrm>
          <a:prstGeom prst="rect">
            <a:avLst/>
          </a:prstGeom>
          <a:noFill/>
        </p:spPr>
        <p:txBody>
          <a:bodyPr wrap="square" lIns="68738" tIns="34368" rIns="68738" bIns="34368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98" b="1" kern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Предприятия, внедряющие производственные системы и подходы бережливого производства</a:t>
            </a:r>
          </a:p>
        </p:txBody>
      </p:sp>
      <p:pic>
        <p:nvPicPr>
          <p:cNvPr id="4" name="Рисунок 3" descr="C:\Users\amponomarenko.ROSATOM-ACADEMY\Desktop\методички ТВЭЛ\Управление улучшениями\логотипы\500px-Ford_Motor_Company_Logo.svg_-41194_240x240.jpg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219" y="851592"/>
            <a:ext cx="1124603" cy="1038095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Рисунок 4" descr="C:\Users\amponomarenko.ROSATOM-ACADEMY\Desktop\методички ТВЭЛ\Управление улучшениями\логотипы\Alcoa630-10697_240x240 (1)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778" y="3007137"/>
            <a:ext cx="944410" cy="871763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Рисунок 5" descr="C:\Users\amponomarenko.ROSATOM-ACADEMY\Desktop\методички ТВЭЛ\Управление улучшениями\логотипы\Boeing-logo600-13725_240x240.png"/>
          <p:cNvPicPr/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4101" y="1861165"/>
            <a:ext cx="1467690" cy="922664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Рисунок 6" descr="C:\Users\amponomarenko.ROSATOM-ACADEMY\Desktop\методички ТВЭЛ\Управление улучшениями\логотипы\500px-Volkswagen_Group-16567_240x240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8908" y="1861165"/>
            <a:ext cx="944410" cy="871763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Рисунок 8" descr="C:\Users\amponomarenko.ROSATOM-ACADEMY\Desktop\методички ТВЭЛ\Управление улучшениями\логотипы\braz-logo-256-2592_240x240.gif"/>
          <p:cNvPicPr/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360" y="2081977"/>
            <a:ext cx="1304797" cy="1204427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Рисунок 9" descr="C:\Users\amponomarenko.ROSATOM-ACADEMY\Desktop\методички ТВЭЛ\Управление улучшениями\логотипы\VSMPO-AVISMA_NEW_2011-8115_240x240.gif"/>
          <p:cNvPicPr/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4219" y="2952759"/>
            <a:ext cx="1160641" cy="1071361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Рисунок 10" descr="C:\Users\amponomarenko.ROSATOM-ACADEMY\Desktop\методички ТВЭЛ\Управление улучшениями\логотипы\toyota-logo-wh-sq-88526_240x240.png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7867" y="1626223"/>
            <a:ext cx="741307" cy="73595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Рисунок 11" descr="C:\Users\amponomarenko.ROSATOM-ACADEMY\Desktop\методички ТВЭЛ\Управление улучшениями\логотипы\gaz-group-logo.gif"/>
          <p:cNvPicPr/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6717" y="833593"/>
            <a:ext cx="970274" cy="1021461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Рисунок 12" descr="C:\Users\amponomarenko.ROSATOM-ACADEMY\Desktop\методички ТВЭЛ\Управление улучшениями\логотипы\rusal-logo-35074_240x240.png"/>
          <p:cNvPicPr/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7251" y="3866036"/>
            <a:ext cx="1142376" cy="1054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Рисунок 14" descr="C:\Users\amponomarenko.ROSATOM-ACADEMY\Desktop\методички ТВЭЛ\Управление улучшениями\логотипы\Kamaz_logo-22721_240x240.gif"/>
          <p:cNvPicPr/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220" y="2416597"/>
            <a:ext cx="1230498" cy="1156378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Rectangle 2"/>
          <p:cNvSpPr>
            <a:spLocks noChangeArrowheads="1"/>
          </p:cNvSpPr>
          <p:nvPr/>
        </p:nvSpPr>
        <p:spPr bwMode="auto">
          <a:xfrm>
            <a:off x="1017506" y="-31791"/>
            <a:ext cx="138883" cy="290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738" tIns="34368" rIns="68738" bIns="34368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1435"/>
          </a:p>
        </p:txBody>
      </p:sp>
      <p:pic>
        <p:nvPicPr>
          <p:cNvPr id="18" name="Рисунок 17" descr="C:\Users\amponomarenko.ROSATOM-ACADEMY\Desktop\методички ТВЭЛ\Управление улучшениями\логотипы\ahkuban-7949_240x240.png"/>
          <p:cNvPicPr/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129" y="3660204"/>
            <a:ext cx="1025374" cy="1021689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Рисунок 18" descr="C:\Users\amponomarenko.ROSATOM-ACADEMY\Desktop\методички ТВЭЛ\Управление улучшениями\логотипы\logo-miratorg-90096_240x240.png"/>
          <p:cNvPicPr/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8949" y="3115502"/>
            <a:ext cx="1190627" cy="1071361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Рисунок 19" descr="C:\Users\amponomarenko.ROSATOM-ACADEMY\Desktop\методички ТВЭЛ\Управление улучшениями\логотипы\rostselmash.gif"/>
          <p:cNvPicPr/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2503" y="3914154"/>
            <a:ext cx="1106831" cy="1021689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Рисунок 20" descr="C:\Users\amponomarenko.ROSATOM-ACADEMY\Desktop\методички ТВЭЛ\Управление улучшениями\логотипы\tvz_logo.png"/>
          <p:cNvPicPr/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9056" y="855223"/>
            <a:ext cx="1115717" cy="1029893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Рисунок 21" descr="C:\Users\amponomarenko.ROSATOM-ACADEMY\Desktop\методички ТВЭЛ\Управление улучшениями\логотипы\tvsz-19562_240x240.jpg"/>
          <p:cNvPicPr/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4859" y="1626222"/>
            <a:ext cx="917751" cy="84715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3" name="Объект 22"/>
          <p:cNvGraphicFramePr>
            <a:graphicFrameLocks/>
          </p:cNvGraphicFramePr>
          <p:nvPr>
            <p:extLst/>
          </p:nvPr>
        </p:nvGraphicFramePr>
        <p:xfrm>
          <a:off x="3237138" y="2475702"/>
          <a:ext cx="1051539" cy="868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9" name="Точечный рисунок" r:id="rId22" imgW="0" imgH="0" progId="PBrush">
                  <p:embed/>
                </p:oleObj>
              </mc:Choice>
              <mc:Fallback>
                <p:oleObj name="Точечный рисунок" r:id="rId22" imgW="0" imgH="0" progId="PBrush">
                  <p:embed/>
                  <p:pic>
                    <p:nvPicPr>
                      <p:cNvPr id="23" name="Объект 22"/>
                      <p:cNvPicPr>
                        <a:picLocks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37138" y="2475702"/>
                        <a:ext cx="1051539" cy="868117"/>
                      </a:xfrm>
                      <a:prstGeom prst="rect">
                        <a:avLst/>
                      </a:prstGeom>
                      <a:solidFill>
                        <a:srgbClr val="FFFFFF"/>
                      </a:solidFill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Рисунок 23" descr="C:\Users\amponomarenko.ROSATOM-ACADEMY\Desktop\методички ТВЭЛ\Управление улучшениями\логотипы\i (1).jpg"/>
          <p:cNvPicPr/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6789" y="2427899"/>
            <a:ext cx="1286530" cy="857636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Рисунок 24" descr="C:\Users\amponomarenko.ROSATOM-ACADEMY\Desktop\методички ТВЭЛ\Управление улучшениями\логотипы\image.png"/>
          <p:cNvPicPr/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5788" y="3263148"/>
            <a:ext cx="1511648" cy="578289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Рисунок 25" descr="C:\Users\amponomarenko.ROSATOM-ACADEMY\Desktop\методички ТВЭЛ\Управление улучшениями\логотипы\i (2).jpg"/>
          <p:cNvPicPr/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5743" y="4237361"/>
            <a:ext cx="1166867" cy="575173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Рисунок 26" descr="C:\Users\amponomarenko.ROSATOM-ACADEMY\Desktop\методички ТВЭЛ\Управление улучшениями\логотипы\tnk-bp-45197_240x240.gif"/>
          <p:cNvPicPr/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3337" y="1086442"/>
            <a:ext cx="1043639" cy="963359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Рисунок 27" descr="C:\Users\amponomarenko.ROSATOM-ACADEMY\Desktop\методички ТВЭЛ\Управление улучшениями\логотипы\Sibur-33996_240x240.gif"/>
          <p:cNvPicPr/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027" y="1771243"/>
            <a:ext cx="1007601" cy="930092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Рисунок 29" descr="C:\Users\amponomarenko.ROSATOM-ACADEMY\Desktop\методички ТВЭЛ\Управление улучшениями\логотипы\ruskraski-39342_240x240.jpg"/>
          <p:cNvPicPr/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2504" y="2432358"/>
            <a:ext cx="1267817" cy="924222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Прямоугольник 31"/>
          <p:cNvSpPr/>
          <p:nvPr/>
        </p:nvSpPr>
        <p:spPr>
          <a:xfrm>
            <a:off x="1199750" y="4898288"/>
            <a:ext cx="551754" cy="21807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17" dirty="0">
                <a:solidFill>
                  <a:schemeClr val="accent5">
                    <a:lumMod val="50000"/>
                  </a:schemeClr>
                </a:solidFill>
              </a:rPr>
              <a:t>История</a:t>
            </a:r>
          </a:p>
        </p:txBody>
      </p:sp>
      <p:sp>
        <p:nvSpPr>
          <p:cNvPr id="33" name="Стрелка вниз 32"/>
          <p:cNvSpPr/>
          <p:nvPr/>
        </p:nvSpPr>
        <p:spPr>
          <a:xfrm>
            <a:off x="1078654" y="4943935"/>
            <a:ext cx="128789" cy="131072"/>
          </a:xfrm>
          <a:prstGeom prst="downArrow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26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69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" name="Прямая соединительная линия 38"/>
          <p:cNvCxnSpPr/>
          <p:nvPr/>
        </p:nvCxnSpPr>
        <p:spPr>
          <a:xfrm>
            <a:off x="1984424" y="1308360"/>
            <a:ext cx="4910108" cy="0"/>
          </a:xfrm>
          <a:prstGeom prst="line">
            <a:avLst/>
          </a:prstGeom>
          <a:ln w="76200">
            <a:solidFill>
              <a:srgbClr val="212121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3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5923" y="1166949"/>
            <a:ext cx="427117" cy="1223612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9303" y="1135467"/>
            <a:ext cx="490914" cy="1221558"/>
          </a:xfrm>
          <a:prstGeom prst="rect">
            <a:avLst/>
          </a:prstGeom>
        </p:spPr>
      </p:pic>
      <p:sp>
        <p:nvSpPr>
          <p:cNvPr id="9" name="Объект 8"/>
          <p:cNvSpPr>
            <a:spLocks noGrp="1"/>
          </p:cNvSpPr>
          <p:nvPr>
            <p:ph idx="1"/>
          </p:nvPr>
        </p:nvSpPr>
        <p:spPr>
          <a:xfrm>
            <a:off x="424911" y="774170"/>
            <a:ext cx="7203542" cy="249299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indent="0" defTabSz="102550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ru-RU" sz="1800" dirty="0"/>
              <a:t>Любой процесс </a:t>
            </a:r>
            <a:r>
              <a:rPr lang="ru-RU" sz="1800" dirty="0" smtClean="0"/>
              <a:t>можно </a:t>
            </a:r>
            <a:r>
              <a:rPr lang="ru-RU" sz="1800" dirty="0"/>
              <a:t>разделить на три вида работ:</a:t>
            </a:r>
          </a:p>
        </p:txBody>
      </p:sp>
      <p:sp>
        <p:nvSpPr>
          <p:cNvPr id="12" name="Объект 8"/>
          <p:cNvSpPr txBox="1">
            <a:spLocks/>
          </p:cNvSpPr>
          <p:nvPr/>
        </p:nvSpPr>
        <p:spPr>
          <a:xfrm>
            <a:off x="2152365" y="2496950"/>
            <a:ext cx="1164292" cy="11368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/>
              <a:buNone/>
              <a:defRPr sz="1800" kern="12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0" i="1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/>
              <a:buNone/>
              <a:tabLst/>
              <a:defRPr/>
            </a:pPr>
            <a:r>
              <a:rPr kumimoji="0" lang="ru-RU" sz="1005" b="1" i="0" u="none" strike="noStrike" kern="1200" cap="all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тери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005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бота, которая не добавляет ценности продукту.</a:t>
            </a:r>
          </a:p>
        </p:txBody>
      </p:sp>
      <p:sp>
        <p:nvSpPr>
          <p:cNvPr id="13" name="Объект 8"/>
          <p:cNvSpPr txBox="1">
            <a:spLocks/>
          </p:cNvSpPr>
          <p:nvPr/>
        </p:nvSpPr>
        <p:spPr>
          <a:xfrm>
            <a:off x="3625121" y="2502686"/>
            <a:ext cx="1627469" cy="10794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/>
              <a:buNone/>
              <a:defRPr sz="1800" kern="12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0" i="1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/>
              <a:buNone/>
              <a:tabLst/>
              <a:defRPr/>
            </a:pPr>
            <a:r>
              <a:rPr kumimoji="0" lang="ru-RU" sz="1005" b="1" i="0" u="none" strike="noStrike" kern="1200" cap="all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езначимая работа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005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бота, которая не добавляет </a:t>
            </a:r>
            <a:r>
              <a:rPr kumimoji="0" lang="ru-RU" sz="1005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ценности, </a:t>
            </a:r>
            <a:r>
              <a:rPr kumimoji="0" lang="ru-RU" sz="1005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о при текущем состоянии </a:t>
            </a:r>
            <a:r>
              <a:rPr kumimoji="0" lang="ru-RU" sz="1005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цессов</a:t>
            </a:r>
            <a:r>
              <a:rPr kumimoji="0" lang="ru-RU" sz="1005" b="0" i="0" u="none" strike="noStrike" kern="1200" cap="none" spc="0" normalizeH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1005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ез </a:t>
            </a:r>
            <a:r>
              <a:rPr kumimoji="0" lang="ru-RU" sz="1005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ее обойтись невозможно.</a:t>
            </a:r>
          </a:p>
        </p:txBody>
      </p:sp>
      <p:sp>
        <p:nvSpPr>
          <p:cNvPr id="14" name="Объект 8"/>
          <p:cNvSpPr txBox="1">
            <a:spLocks/>
          </p:cNvSpPr>
          <p:nvPr/>
        </p:nvSpPr>
        <p:spPr>
          <a:xfrm>
            <a:off x="5649429" y="2496950"/>
            <a:ext cx="1461003" cy="11368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/>
              <a:buNone/>
              <a:defRPr sz="1800" kern="12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0" i="1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/>
              <a:buNone/>
              <a:tabLst/>
              <a:defRPr/>
            </a:pPr>
            <a:r>
              <a:rPr kumimoji="0" lang="ru-RU" sz="1005" b="1" i="0" u="none" strike="noStrike" kern="1200" cap="all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начимая работа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005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бота, которую необходимо выполнять для обеспечения требований заказчика и добавления ценностей.</a:t>
            </a:r>
          </a:p>
        </p:txBody>
      </p:sp>
      <p:sp>
        <p:nvSpPr>
          <p:cNvPr id="15" name="Объект 8"/>
          <p:cNvSpPr txBox="1">
            <a:spLocks/>
          </p:cNvSpPr>
          <p:nvPr/>
        </p:nvSpPr>
        <p:spPr>
          <a:xfrm>
            <a:off x="3932200" y="1157317"/>
            <a:ext cx="830804" cy="286897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/>
              <a:buNone/>
              <a:defRPr sz="1800" kern="12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0" i="1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367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цесс</a:t>
            </a:r>
          </a:p>
        </p:txBody>
      </p:sp>
      <p:sp>
        <p:nvSpPr>
          <p:cNvPr id="16" name="Объект 8"/>
          <p:cNvSpPr txBox="1">
            <a:spLocks/>
          </p:cNvSpPr>
          <p:nvPr/>
        </p:nvSpPr>
        <p:spPr>
          <a:xfrm>
            <a:off x="1227025" y="2503349"/>
            <a:ext cx="471328" cy="16468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/>
              <a:buNone/>
              <a:defRPr sz="1800" kern="12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0" i="1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094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Я</a:t>
            </a:r>
          </a:p>
        </p:txBody>
      </p:sp>
      <p:sp>
        <p:nvSpPr>
          <p:cNvPr id="17" name="Объект 8"/>
          <p:cNvSpPr txBox="1">
            <a:spLocks/>
          </p:cNvSpPr>
          <p:nvPr/>
        </p:nvSpPr>
        <p:spPr>
          <a:xfrm>
            <a:off x="7155243" y="2398430"/>
            <a:ext cx="911051" cy="5392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/>
              <a:buNone/>
              <a:defRPr sz="1800" kern="12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457200" rtl="0" eaLnBrk="1" latinLnBrk="0" hangingPunct="1"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1" i="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457200" rtl="0" eaLnBrk="1" latinLnBrk="0" hangingPunct="1">
              <a:spcBef>
                <a:spcPts val="0"/>
              </a:spcBef>
              <a:buFont typeface="Arial"/>
              <a:buNone/>
              <a:defRPr sz="1800" b="0" i="1" kern="1200" baseline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094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казчик</a:t>
            </a:r>
          </a:p>
          <a:p>
            <a:pPr marL="0" marR="0" lvl="1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094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внутренний и внешний)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988149" y="1608917"/>
            <a:ext cx="3515861" cy="732985"/>
          </a:xfrm>
          <a:prstGeom prst="rect">
            <a:avLst/>
          </a:prstGeom>
          <a:solidFill>
            <a:srgbClr val="FF5D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35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504010" y="1608917"/>
            <a:ext cx="826819" cy="732985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3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330829" y="1608917"/>
            <a:ext cx="443589" cy="732985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3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Равнобедренный треугольник 25"/>
          <p:cNvSpPr/>
          <p:nvPr/>
        </p:nvSpPr>
        <p:spPr>
          <a:xfrm rot="5400000">
            <a:off x="6093513" y="1846232"/>
            <a:ext cx="732985" cy="258352"/>
          </a:xfrm>
          <a:prstGeom prst="triangle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3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Равнобедренный треугольник 24"/>
          <p:cNvSpPr/>
          <p:nvPr/>
        </p:nvSpPr>
        <p:spPr>
          <a:xfrm rot="5400000">
            <a:off x="5266694" y="1846232"/>
            <a:ext cx="732985" cy="258352"/>
          </a:xfrm>
          <a:prstGeom prst="triangle">
            <a:avLst/>
          </a:prstGeom>
          <a:solidFill>
            <a:srgbClr val="FF5D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3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Равнобедренный треугольник 26"/>
          <p:cNvSpPr/>
          <p:nvPr/>
        </p:nvSpPr>
        <p:spPr>
          <a:xfrm rot="5400000">
            <a:off x="6537102" y="1846232"/>
            <a:ext cx="732985" cy="258352"/>
          </a:xfrm>
          <a:prstGeom prst="triangle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3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Овал 27"/>
          <p:cNvSpPr/>
          <p:nvPr/>
        </p:nvSpPr>
        <p:spPr>
          <a:xfrm>
            <a:off x="2442628" y="1846232"/>
            <a:ext cx="258352" cy="258352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3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29" name="Овал 28"/>
          <p:cNvSpPr/>
          <p:nvPr/>
        </p:nvSpPr>
        <p:spPr>
          <a:xfrm>
            <a:off x="5918686" y="1846232"/>
            <a:ext cx="258352" cy="258352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3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30" name="Овал 29"/>
          <p:cNvSpPr/>
          <p:nvPr/>
        </p:nvSpPr>
        <p:spPr>
          <a:xfrm>
            <a:off x="6627515" y="1846232"/>
            <a:ext cx="258352" cy="258352"/>
          </a:xfrm>
          <a:prstGeom prst="ellipse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3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pic>
        <p:nvPicPr>
          <p:cNvPr id="31" name="Изображение 9" descr="noun_26799_cc.png"/>
          <p:cNvPicPr>
            <a:picLocks noChangeAspect="1"/>
          </p:cNvPicPr>
          <p:nvPr/>
        </p:nvPicPr>
        <p:blipFill rotWithShape="1">
          <a:blip r:embed="rId4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9636"/>
          <a:stretch/>
        </p:blipFill>
        <p:spPr>
          <a:xfrm>
            <a:off x="157278" y="3760764"/>
            <a:ext cx="1082534" cy="943074"/>
          </a:xfrm>
          <a:prstGeom prst="rect">
            <a:avLst/>
          </a:prstGeom>
        </p:spPr>
      </p:pic>
      <p:sp>
        <p:nvSpPr>
          <p:cNvPr id="38" name="Овал 37"/>
          <p:cNvSpPr/>
          <p:nvPr/>
        </p:nvSpPr>
        <p:spPr>
          <a:xfrm>
            <a:off x="1853987" y="2506604"/>
            <a:ext cx="258352" cy="258352"/>
          </a:xfrm>
          <a:prstGeom prst="ellipse">
            <a:avLst/>
          </a:prstGeom>
          <a:solidFill>
            <a:srgbClr val="FF5D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3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40" name="Овал 39"/>
          <p:cNvSpPr/>
          <p:nvPr/>
        </p:nvSpPr>
        <p:spPr>
          <a:xfrm>
            <a:off x="3316657" y="2496950"/>
            <a:ext cx="258352" cy="258352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3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41" name="Овал 40"/>
          <p:cNvSpPr/>
          <p:nvPr/>
        </p:nvSpPr>
        <p:spPr>
          <a:xfrm>
            <a:off x="5339097" y="2496950"/>
            <a:ext cx="258352" cy="258352"/>
          </a:xfrm>
          <a:prstGeom prst="ellipse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3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1312925" y="3662449"/>
            <a:ext cx="7408348" cy="1219704"/>
          </a:xfrm>
          <a:prstGeom prst="roundRect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8477" tIns="34239" rIns="68477" bIns="34239" rtlCol="0" anchor="ctr"/>
          <a:lstStyle/>
          <a:p>
            <a:pPr lvl="0"/>
            <a:r>
              <a:rPr kumimoji="0" lang="ru-RU" sz="1498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се, что мы делаем – </a:t>
            </a:r>
            <a:r>
              <a:rPr kumimoji="0" lang="ru-RU" sz="1498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то анализируем </a:t>
            </a:r>
            <a:r>
              <a:rPr kumimoji="0" lang="ru-RU" sz="1498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ремя </a:t>
            </a:r>
            <a:r>
              <a:rPr kumimoji="0" lang="ru-RU" sz="1498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/>
            </a:r>
            <a:br>
              <a:rPr kumimoji="0" lang="ru-RU" sz="1498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498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т </a:t>
            </a:r>
            <a:r>
              <a:rPr kumimoji="0" lang="ru-RU" sz="1498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момента </a:t>
            </a:r>
            <a:r>
              <a:rPr kumimoji="0" lang="ru-RU" sz="1498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получения заказа/</a:t>
            </a:r>
            <a:r>
              <a:rPr kumimoji="0" lang="ru-RU" sz="1498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 заявки/ обращения </a:t>
            </a:r>
            <a:br>
              <a:rPr kumimoji="0" lang="ru-RU" sz="1498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</a:br>
            <a:r>
              <a:rPr kumimoji="0" lang="ru-RU" sz="1498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до </a:t>
            </a:r>
            <a:r>
              <a:rPr kumimoji="0" lang="ru-RU" sz="1498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получения </a:t>
            </a:r>
            <a:r>
              <a:rPr lang="ru-RU" sz="1498" dirty="0" smtClean="0">
                <a:solidFill>
                  <a:srgbClr val="002060"/>
                </a:solidFill>
              </a:rPr>
              <a:t>оплаты/ оказания услуги</a:t>
            </a:r>
            <a:r>
              <a:rPr lang="ru-RU" sz="1498" b="1" dirty="0" smtClean="0">
                <a:solidFill>
                  <a:srgbClr val="002060"/>
                </a:solidFill>
              </a:rPr>
              <a:t/>
            </a:r>
            <a:br>
              <a:rPr lang="ru-RU" sz="1498" b="1" dirty="0" smtClean="0">
                <a:solidFill>
                  <a:srgbClr val="002060"/>
                </a:solidFill>
              </a:rPr>
            </a:br>
            <a:r>
              <a:rPr lang="ru-RU" sz="1498" b="1" dirty="0" smtClean="0">
                <a:solidFill>
                  <a:srgbClr val="002060"/>
                </a:solidFill>
              </a:rPr>
              <a:t>и </a:t>
            </a:r>
            <a:r>
              <a:rPr kumimoji="0" lang="ru-RU" sz="1498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окращаем это время исключая потери, не добавляющие ценность</a:t>
            </a:r>
          </a:p>
        </p:txBody>
      </p:sp>
      <p:sp>
        <p:nvSpPr>
          <p:cNvPr id="32" name="Заголовок 2"/>
          <p:cNvSpPr txBox="1">
            <a:spLocks/>
          </p:cNvSpPr>
          <p:nvPr/>
        </p:nvSpPr>
        <p:spPr>
          <a:xfrm>
            <a:off x="487683" y="286168"/>
            <a:ext cx="6758671" cy="581660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b="1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Из чего состоит процесс?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318526" y="1797359"/>
            <a:ext cx="1815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до 80 % потери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4427738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Изображение 8" descr="noun_26799_cc.png"/>
          <p:cNvPicPr>
            <a:picLocks noChangeAspect="1"/>
          </p:cNvPicPr>
          <p:nvPr/>
        </p:nvPicPr>
        <p:blipFill rotWithShape="1">
          <a:blip r:embed="rId2" cstate="screen">
            <a:duotone>
              <a:srgbClr val="1C436A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5267" y="2139363"/>
            <a:ext cx="1082534" cy="943074"/>
          </a:xfrm>
          <a:prstGeom prst="rect">
            <a:avLst/>
          </a:prstGeom>
        </p:spPr>
      </p:pic>
      <p:sp>
        <p:nvSpPr>
          <p:cNvPr id="64" name="Скругленный прямоугольник 63"/>
          <p:cNvSpPr/>
          <p:nvPr/>
        </p:nvSpPr>
        <p:spPr>
          <a:xfrm>
            <a:off x="1447801" y="2196893"/>
            <a:ext cx="7302500" cy="828014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3375B7">
                <a:lumMod val="50000"/>
              </a:srgbClr>
            </a:solidFill>
            <a:prstDash val="solid"/>
          </a:ln>
          <a:effectLst/>
        </p:spPr>
        <p:txBody>
          <a:bodyPr lIns="68477" tIns="34239" rIns="68477" bIns="34239" rtlCol="0" anchor="ctr"/>
          <a:lstStyle/>
          <a:p>
            <a:pPr marL="0" marR="0" lvl="0" indent="0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4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ая работа (деятельность), которая потребляет ресурсы, </a:t>
            </a:r>
            <a:br>
              <a:rPr kumimoji="0" lang="ru-RU" sz="164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sz="164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о не создает ценности для заказчика – это потеря.</a:t>
            </a:r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1447801" y="3411166"/>
            <a:ext cx="7302499" cy="779833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3375B7">
                <a:lumMod val="50000"/>
              </a:srgbClr>
            </a:solidFill>
            <a:prstDash val="solid"/>
          </a:ln>
          <a:effectLst/>
        </p:spPr>
        <p:txBody>
          <a:bodyPr lIns="68477" tIns="34239" rIns="68477" bIns="34239" rtlCol="0" anchor="ctr"/>
          <a:lstStyle/>
          <a:p>
            <a:pPr marL="0" marR="0" lvl="0" indent="0" defTabSz="69883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40" b="1" i="0" u="sng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иск</a:t>
            </a:r>
            <a:r>
              <a:rPr kumimoji="0" lang="ru-RU" sz="164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устранение потерь – основная задача каждого сотрудника</a:t>
            </a:r>
          </a:p>
        </p:txBody>
      </p:sp>
      <p:pic>
        <p:nvPicPr>
          <p:cNvPr id="66" name="Изображение 10" descr="noun_26799_cc.png"/>
          <p:cNvPicPr>
            <a:picLocks noChangeAspect="1"/>
          </p:cNvPicPr>
          <p:nvPr/>
        </p:nvPicPr>
        <p:blipFill rotWithShape="1">
          <a:blip r:embed="rId2" cstate="screen">
            <a:duotone>
              <a:srgbClr val="1C436A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5267" y="3329545"/>
            <a:ext cx="1082534" cy="943074"/>
          </a:xfrm>
          <a:prstGeom prst="rect">
            <a:avLst/>
          </a:prstGeom>
        </p:spPr>
      </p:pic>
      <p:pic>
        <p:nvPicPr>
          <p:cNvPr id="67" name="Рисунок 13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8079" y="885475"/>
            <a:ext cx="6762305" cy="708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Прямоугольник 3"/>
          <p:cNvSpPr>
            <a:spLocks noChangeArrowheads="1"/>
          </p:cNvSpPr>
          <p:nvPr/>
        </p:nvSpPr>
        <p:spPr bwMode="auto">
          <a:xfrm>
            <a:off x="7573062" y="993484"/>
            <a:ext cx="964545" cy="511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98835" eaLnBrk="1" hangingPunct="1"/>
            <a:endParaRPr lang="ru-RU" altLang="ru-RU" sz="1226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defTabSz="698835" eaLnBrk="1" hangingPunct="1"/>
            <a:r>
              <a:rPr lang="ru-RU" altLang="ru-RU" sz="1498" b="1" dirty="0" smtClean="0">
                <a:solidFill>
                  <a:srgbClr val="002960"/>
                </a:solidFill>
                <a:latin typeface="Arial"/>
              </a:rPr>
              <a:t>И Т. Д.</a:t>
            </a:r>
            <a:endParaRPr lang="ru-RU" altLang="ru-RU" sz="1498" b="1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71" name="Заголовок 2"/>
          <p:cNvSpPr txBox="1">
            <a:spLocks/>
          </p:cNvSpPr>
          <p:nvPr/>
        </p:nvSpPr>
        <p:spPr>
          <a:xfrm>
            <a:off x="487683" y="286168"/>
            <a:ext cx="6758671" cy="581660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b="1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Типовые потери в процессах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1991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auto">
          <a:xfrm>
            <a:off x="870163" y="161731"/>
            <a:ext cx="511739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69826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8564" algn="l"/>
              </a:tabLst>
              <a:defRPr sz="1498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2pPr>
            <a:lvl3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3pPr>
            <a:lvl4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4pPr>
            <a:lvl5pPr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5pPr>
            <a:lvl6pPr marL="356553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6pPr>
            <a:lvl7pPr marL="713124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7pPr>
            <a:lvl8pPr marL="1069686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8pPr>
            <a:lvl9pPr marL="1426248" algn="l" defTabSz="698266" rtl="0" eaLnBrk="1" fontAlgn="base" hangingPunct="1">
              <a:spcBef>
                <a:spcPct val="0"/>
              </a:spcBef>
              <a:spcAft>
                <a:spcPct val="0"/>
              </a:spcAft>
              <a:defRPr sz="149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698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8564" algn="l"/>
              </a:tabLst>
              <a:defRPr/>
            </a:pPr>
            <a:r>
              <a:rPr lang="ru-RU" sz="1600" kern="0" noProof="0" dirty="0" smtClean="0">
                <a:solidFill>
                  <a:srgbClr val="002960"/>
                </a:solidFill>
                <a:latin typeface="Arial"/>
              </a:rPr>
              <a:t>Предложения по улучшению и проекты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506522" y="387889"/>
            <a:ext cx="6398092" cy="30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698835" eaLnBrk="1" hangingPunct="1"/>
            <a:r>
              <a:rPr lang="ru-RU" altLang="ru-RU" sz="2009" b="1" dirty="0">
                <a:solidFill>
                  <a:srgbClr val="002960"/>
                </a:solidFill>
              </a:rPr>
              <a:t>Принцип непрерывного совершенствования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725741" y="3745012"/>
            <a:ext cx="4155931" cy="1350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698835"/>
            <a:r>
              <a:rPr lang="ru-RU" altLang="ru-RU" sz="1435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Разработка и реализация улучшений – </a:t>
            </a:r>
            <a:r>
              <a:rPr lang="ru-RU" altLang="ru-RU" sz="1435" b="1" dirty="0">
                <a:solidFill>
                  <a:srgbClr val="000000"/>
                </a:solidFill>
                <a:latin typeface="Arial" panose="020B0604020202020204" pitchFamily="34" charset="0"/>
              </a:rPr>
              <a:t/>
            </a:r>
            <a:br>
              <a:rPr lang="ru-RU" altLang="ru-RU" sz="1435" b="1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ru-RU" altLang="ru-RU" sz="1435" b="1" dirty="0">
                <a:solidFill>
                  <a:srgbClr val="00B050"/>
                </a:solidFill>
                <a:latin typeface="Arial" panose="020B0604020202020204" pitchFamily="34" charset="0"/>
              </a:rPr>
              <a:t>это непосредственное участие </a:t>
            </a:r>
            <a:r>
              <a:rPr lang="ru-RU" altLang="ru-RU" sz="1435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работников</a:t>
            </a:r>
            <a:r>
              <a:rPr lang="ru-RU" altLang="ru-RU" sz="1435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pPr defTabSz="698835">
              <a:spcBef>
                <a:spcPts val="600"/>
              </a:spcBef>
            </a:pPr>
            <a:r>
              <a:rPr lang="ru-RU" altLang="ru-RU" sz="1435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- подаем и реализуем улучшения</a:t>
            </a:r>
          </a:p>
          <a:p>
            <a:pPr defTabSz="698835">
              <a:spcBef>
                <a:spcPts val="600"/>
              </a:spcBef>
            </a:pPr>
            <a:r>
              <a:rPr lang="ru-RU" altLang="ru-RU" sz="1435" b="1" dirty="0" smtClean="0">
                <a:solidFill>
                  <a:srgbClr val="000000"/>
                </a:solidFill>
                <a:latin typeface="Arial" panose="020B0604020202020204" pitchFamily="34" charset="0"/>
              </a:rPr>
              <a:t>- реализуем проекты по совершенствованию процессов</a:t>
            </a:r>
            <a:endParaRPr lang="ru-RU" altLang="ru-RU" sz="1435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12232" y="3711541"/>
            <a:ext cx="4118755" cy="14173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98835" eaLnBrk="1" hangingPunct="1"/>
            <a:r>
              <a:rPr lang="ru-RU" altLang="ru-RU" sz="1435" b="1" dirty="0">
                <a:solidFill>
                  <a:srgbClr val="000000"/>
                </a:solidFill>
              </a:rPr>
              <a:t>Разработка и внедрение крупной инновации – это продукт работы нескольких специализированных подразделений </a:t>
            </a:r>
            <a:r>
              <a:rPr lang="ru-RU" altLang="ru-RU" sz="1435" b="1" dirty="0" smtClean="0">
                <a:solidFill>
                  <a:srgbClr val="000000"/>
                </a:solidFill>
              </a:rPr>
              <a:t>организации</a:t>
            </a:r>
            <a:br>
              <a:rPr lang="ru-RU" altLang="ru-RU" sz="1435" b="1" dirty="0" smtClean="0">
                <a:solidFill>
                  <a:srgbClr val="000000"/>
                </a:solidFill>
              </a:rPr>
            </a:br>
            <a:r>
              <a:rPr lang="ru-RU" altLang="ru-RU" sz="1435" b="1" dirty="0" smtClean="0">
                <a:solidFill>
                  <a:srgbClr val="FF0000"/>
                </a:solidFill>
              </a:rPr>
              <a:t>Очень дорого и редко, </a:t>
            </a:r>
            <a:br>
              <a:rPr lang="ru-RU" altLang="ru-RU" sz="1435" b="1" dirty="0" smtClean="0">
                <a:solidFill>
                  <a:srgbClr val="FF0000"/>
                </a:solidFill>
              </a:rPr>
            </a:br>
            <a:r>
              <a:rPr lang="ru-RU" altLang="ru-RU" sz="1435" b="1" dirty="0" smtClean="0">
                <a:solidFill>
                  <a:srgbClr val="FF0000"/>
                </a:solidFill>
              </a:rPr>
              <a:t>часто рядовые работники не вовлечены</a:t>
            </a:r>
            <a:endParaRPr lang="ru-RU" altLang="ru-RU" sz="1435" b="1" dirty="0">
              <a:solidFill>
                <a:srgbClr val="FF0000"/>
              </a:solidFill>
            </a:endParaRPr>
          </a:p>
        </p:txBody>
      </p:sp>
      <p:pic>
        <p:nvPicPr>
          <p:cNvPr id="7" name="Содержимое 10" descr="СХЕМА 3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7505" y="868657"/>
            <a:ext cx="3513482" cy="2720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Содержимое 10" descr="СХЕМА 3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1" y="868657"/>
            <a:ext cx="3410948" cy="2720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7221357" y="2333610"/>
            <a:ext cx="1660315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98835"/>
            <a:r>
              <a:rPr lang="ru-RU" sz="1600" b="1" dirty="0">
                <a:solidFill>
                  <a:srgbClr val="0070C0"/>
                </a:solidFill>
                <a:latin typeface="Arial"/>
              </a:rPr>
              <a:t>Проекты улучшений</a:t>
            </a:r>
          </a:p>
          <a:p>
            <a:pPr defTabSz="698835"/>
            <a:endParaRPr lang="ru-RU" sz="1600" b="1" dirty="0">
              <a:solidFill>
                <a:srgbClr val="0070C0"/>
              </a:solidFill>
              <a:latin typeface="Arial"/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7208289" y="1356685"/>
            <a:ext cx="769562" cy="753734"/>
            <a:chOff x="10416395" y="7702725"/>
            <a:chExt cx="1130257" cy="1107011"/>
          </a:xfrm>
        </p:grpSpPr>
        <p:sp>
          <p:nvSpPr>
            <p:cNvPr id="12" name="Овал 11"/>
            <p:cNvSpPr/>
            <p:nvPr/>
          </p:nvSpPr>
          <p:spPr>
            <a:xfrm>
              <a:off x="10427181" y="7712024"/>
              <a:ext cx="1064334" cy="1064334"/>
            </a:xfrm>
            <a:prstGeom prst="ellipse">
              <a:avLst/>
            </a:prstGeom>
            <a:solidFill>
              <a:schemeClr val="bg1"/>
            </a:solidFill>
            <a:ln w="41275">
              <a:solidFill>
                <a:srgbClr val="E6A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8835"/>
              <a:endParaRPr lang="ru-RU" sz="1362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Стрелка влево 12"/>
            <p:cNvSpPr/>
            <p:nvPr/>
          </p:nvSpPr>
          <p:spPr>
            <a:xfrm rot="10800000">
              <a:off x="10772822" y="7702725"/>
              <a:ext cx="383540" cy="379526"/>
            </a:xfrm>
            <a:prstGeom prst="leftArrow">
              <a:avLst/>
            </a:prstGeom>
            <a:solidFill>
              <a:srgbClr val="FFE18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8835"/>
              <a:endParaRPr lang="ru-RU" sz="1362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10695729" y="7712023"/>
              <a:ext cx="424252" cy="41266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98835"/>
              <a:r>
                <a:rPr lang="en-US" sz="1226" b="1" dirty="0">
                  <a:solidFill>
                    <a:srgbClr val="000000"/>
                  </a:solidFill>
                  <a:latin typeface="Arial"/>
                  <a:cs typeface="Arial"/>
                </a:rPr>
                <a:t>P</a:t>
              </a:r>
              <a:endParaRPr lang="ru-RU" sz="1226" b="1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5" name="Стрелка влево 14"/>
            <p:cNvSpPr/>
            <p:nvPr/>
          </p:nvSpPr>
          <p:spPr>
            <a:xfrm rot="16200000">
              <a:off x="11131498" y="8034924"/>
              <a:ext cx="383540" cy="379526"/>
            </a:xfrm>
            <a:prstGeom prst="leftArrow">
              <a:avLst/>
            </a:prstGeom>
            <a:solidFill>
              <a:srgbClr val="FFE18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8835"/>
              <a:endParaRPr lang="ru-RU" sz="1362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11108274" y="8022713"/>
              <a:ext cx="438378" cy="41266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98835"/>
              <a:r>
                <a:rPr lang="en-US" sz="1226" b="1" dirty="0">
                  <a:solidFill>
                    <a:srgbClr val="000000"/>
                  </a:solidFill>
                  <a:latin typeface="Arial"/>
                  <a:cs typeface="Arial"/>
                </a:rPr>
                <a:t>D</a:t>
              </a:r>
              <a:endParaRPr lang="ru-RU" sz="1226" b="1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7" name="Стрелка влево 16"/>
            <p:cNvSpPr/>
            <p:nvPr/>
          </p:nvSpPr>
          <p:spPr>
            <a:xfrm>
              <a:off x="10766518" y="8389442"/>
              <a:ext cx="383540" cy="379526"/>
            </a:xfrm>
            <a:prstGeom prst="leftArrow">
              <a:avLst/>
            </a:prstGeom>
            <a:solidFill>
              <a:srgbClr val="FFE18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8835"/>
              <a:endParaRPr lang="ru-RU" sz="1362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Стрелка влево 17"/>
            <p:cNvSpPr/>
            <p:nvPr/>
          </p:nvSpPr>
          <p:spPr>
            <a:xfrm rot="5400000">
              <a:off x="10431456" y="8017733"/>
              <a:ext cx="383540" cy="379526"/>
            </a:xfrm>
            <a:prstGeom prst="leftArrow">
              <a:avLst/>
            </a:prstGeom>
            <a:solidFill>
              <a:srgbClr val="FFE18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8835"/>
              <a:endParaRPr lang="ru-RU" sz="1362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10826981" y="8397069"/>
              <a:ext cx="438378" cy="41266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98835"/>
              <a:r>
                <a:rPr lang="en-US" sz="1226" b="1" dirty="0">
                  <a:solidFill>
                    <a:srgbClr val="000000"/>
                  </a:solidFill>
                  <a:latin typeface="Arial"/>
                  <a:cs typeface="Arial"/>
                </a:rPr>
                <a:t>C</a:t>
              </a:r>
              <a:endParaRPr lang="ru-RU" sz="1226" b="1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10416395" y="8117970"/>
              <a:ext cx="438378" cy="41266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98835"/>
              <a:r>
                <a:rPr lang="ru-RU" sz="1226" b="1" dirty="0">
                  <a:solidFill>
                    <a:srgbClr val="000000"/>
                  </a:solidFill>
                  <a:latin typeface="Arial"/>
                  <a:cs typeface="Arial"/>
                </a:rPr>
                <a:t>А</a:t>
              </a: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6449075" y="3005860"/>
            <a:ext cx="2612480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698835"/>
            <a:r>
              <a:rPr lang="ru-RU" sz="1600" b="1" dirty="0">
                <a:solidFill>
                  <a:srgbClr val="0070C0"/>
                </a:solidFill>
                <a:latin typeface="Arial"/>
              </a:rPr>
              <a:t>Предложения </a:t>
            </a:r>
            <a:r>
              <a:rPr lang="ru-RU" sz="1600" b="1" dirty="0" smtClean="0">
                <a:solidFill>
                  <a:srgbClr val="0070C0"/>
                </a:solidFill>
                <a:latin typeface="Arial"/>
              </a:rPr>
              <a:t/>
            </a:r>
            <a:br>
              <a:rPr lang="ru-RU" sz="1600" b="1" dirty="0" smtClean="0">
                <a:solidFill>
                  <a:srgbClr val="0070C0"/>
                </a:solidFill>
                <a:latin typeface="Arial"/>
              </a:rPr>
            </a:br>
            <a:r>
              <a:rPr lang="ru-RU" sz="1600" b="1" dirty="0" smtClean="0">
                <a:solidFill>
                  <a:srgbClr val="0070C0"/>
                </a:solidFill>
                <a:latin typeface="Arial"/>
              </a:rPr>
              <a:t>по </a:t>
            </a:r>
            <a:r>
              <a:rPr lang="ru-RU" sz="1600" b="1" dirty="0">
                <a:solidFill>
                  <a:srgbClr val="0070C0"/>
                </a:solidFill>
                <a:latin typeface="Arial"/>
              </a:rPr>
              <a:t>улучшению</a:t>
            </a: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4530987" y="868657"/>
            <a:ext cx="4350685" cy="4226725"/>
          </a:xfrm>
          <a:prstGeom prst="roundRect">
            <a:avLst>
              <a:gd name="adj" fmla="val 6133"/>
            </a:avLst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1781809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AFF0F08-1952-4D02-AC85-B582265D2BC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0297" y="158698"/>
            <a:ext cx="4496334" cy="111964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5989206-D174-476A-8535-FE2DD47FF69E}"/>
              </a:ext>
            </a:extLst>
          </p:cNvPr>
          <p:cNvSpPr txBox="1"/>
          <p:nvPr/>
        </p:nvSpPr>
        <p:spPr>
          <a:xfrm>
            <a:off x="1289887" y="450676"/>
            <a:ext cx="4015843" cy="6373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1771" dirty="0">
                <a:solidFill>
                  <a:prstClr val="white"/>
                </a:solidFill>
                <a:latin typeface="Bebas Neue Bold" panose="020B0606020202050201" pitchFamily="34" charset="-52"/>
              </a:rPr>
              <a:t>515 Проектных инициатив в рамках проекта</a:t>
            </a:r>
            <a:br>
              <a:rPr lang="ru-RU" sz="1771" dirty="0">
                <a:solidFill>
                  <a:prstClr val="white"/>
                </a:solidFill>
                <a:latin typeface="Bebas Neue Bold" panose="020B0606020202050201" pitchFamily="34" charset="-52"/>
              </a:rPr>
            </a:br>
            <a:r>
              <a:rPr lang="ru-RU" sz="1771" dirty="0">
                <a:solidFill>
                  <a:prstClr val="white"/>
                </a:solidFill>
                <a:latin typeface="Bebas Neue Bold" panose="020B0606020202050201" pitchFamily="34" charset="-52"/>
              </a:rPr>
              <a:t>«Эффективный регион»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60EACA5-0F6A-4058-9060-F230FCD6AB26}"/>
              </a:ext>
            </a:extLst>
          </p:cNvPr>
          <p:cNvSpPr/>
          <p:nvPr/>
        </p:nvSpPr>
        <p:spPr>
          <a:xfrm>
            <a:off x="1170890" y="1058519"/>
            <a:ext cx="3496521" cy="4036989"/>
          </a:xfrm>
          <a:prstGeom prst="rect">
            <a:avLst/>
          </a:prstGeom>
          <a:solidFill>
            <a:srgbClr val="6154A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311353"/>
            <a:endParaRPr lang="ru-RU" sz="749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AF74859-ED08-468A-AFF4-97E921DF0E72}"/>
              </a:ext>
            </a:extLst>
          </p:cNvPr>
          <p:cNvSpPr txBox="1"/>
          <p:nvPr/>
        </p:nvSpPr>
        <p:spPr>
          <a:xfrm>
            <a:off x="1343115" y="1524088"/>
            <a:ext cx="662361" cy="7210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4086" dirty="0">
                <a:solidFill>
                  <a:prstClr val="white"/>
                </a:solidFill>
                <a:latin typeface="Bebas Neue Bold" panose="020B0606020202050201" pitchFamily="34" charset="-52"/>
              </a:rPr>
              <a:t>29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1EF47A-08E0-40D1-A69F-F69A6A8751C2}"/>
              </a:ext>
            </a:extLst>
          </p:cNvPr>
          <p:cNvSpPr txBox="1"/>
          <p:nvPr/>
        </p:nvSpPr>
        <p:spPr>
          <a:xfrm>
            <a:off x="1846758" y="1691768"/>
            <a:ext cx="788340" cy="469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11353"/>
            <a:r>
              <a:rPr lang="ru-RU" sz="1226" dirty="0">
                <a:solidFill>
                  <a:prstClr val="white"/>
                </a:solidFill>
                <a:latin typeface="Bebas Neue Bold" panose="020B0606020202050201" pitchFamily="34" charset="-52"/>
              </a:rPr>
              <a:t>Органов власти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1255930-D5B9-45FD-8C08-EE25389A6E5D}"/>
              </a:ext>
            </a:extLst>
          </p:cNvPr>
          <p:cNvSpPr txBox="1"/>
          <p:nvPr/>
        </p:nvSpPr>
        <p:spPr>
          <a:xfrm>
            <a:off x="2726019" y="1524088"/>
            <a:ext cx="662361" cy="7210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4086" dirty="0">
                <a:solidFill>
                  <a:prstClr val="white"/>
                </a:solidFill>
                <a:latin typeface="Bebas Neue Bold" panose="020B0606020202050201" pitchFamily="34" charset="-52"/>
              </a:rPr>
              <a:t>89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DFE28B-1DF8-4CFA-B2DC-C101F2C1056C}"/>
              </a:ext>
            </a:extLst>
          </p:cNvPr>
          <p:cNvSpPr txBox="1"/>
          <p:nvPr/>
        </p:nvSpPr>
        <p:spPr>
          <a:xfrm>
            <a:off x="3283933" y="1664865"/>
            <a:ext cx="750526" cy="4696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1226" dirty="0">
                <a:solidFill>
                  <a:prstClr val="white"/>
                </a:solidFill>
                <a:latin typeface="Bebas Neue Bold" panose="020B0606020202050201" pitchFamily="34" charset="-52"/>
              </a:rPr>
              <a:t>Проектов</a:t>
            </a:r>
          </a:p>
          <a:p>
            <a:pPr defTabSz="311353"/>
            <a:r>
              <a:rPr lang="ru-RU" sz="1226" dirty="0">
                <a:solidFill>
                  <a:prstClr val="white"/>
                </a:solidFill>
                <a:latin typeface="Bebas Neue Bold" panose="020B0606020202050201" pitchFamily="34" charset="-52"/>
              </a:rPr>
              <a:t>(ВП)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BAE129B-50DD-4557-BCBD-ECDE038A24BD}"/>
              </a:ext>
            </a:extLst>
          </p:cNvPr>
          <p:cNvSpPr/>
          <p:nvPr/>
        </p:nvSpPr>
        <p:spPr>
          <a:xfrm>
            <a:off x="1343115" y="2105026"/>
            <a:ext cx="1226201" cy="1641094"/>
          </a:xfrm>
          <a:prstGeom prst="rect">
            <a:avLst/>
          </a:prstGeom>
          <a:solidFill>
            <a:srgbClr val="6154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311353"/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• минэкономразвития (25) </a:t>
            </a:r>
          </a:p>
          <a:p>
            <a:pPr defTabSz="311353"/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•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образования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3) </a:t>
            </a:r>
          </a:p>
          <a:p>
            <a:pPr defTabSz="311353"/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•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строй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4)</a:t>
            </a:r>
          </a:p>
          <a:p>
            <a:pPr defTabSz="311353"/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•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имущества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4)</a:t>
            </a:r>
          </a:p>
          <a:p>
            <a:pPr defTabSz="311353"/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•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жкх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3)</a:t>
            </a:r>
          </a:p>
          <a:p>
            <a:pPr defTabSz="311353"/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•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спорта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2)</a:t>
            </a:r>
          </a:p>
          <a:p>
            <a:pPr defTabSz="311353"/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•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труда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1)</a:t>
            </a:r>
          </a:p>
          <a:p>
            <a:pPr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сельхоз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5)</a:t>
            </a:r>
          </a:p>
          <a:p>
            <a:pPr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транспорта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1)</a:t>
            </a:r>
          </a:p>
          <a:p>
            <a:pPr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культуры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1)</a:t>
            </a:r>
          </a:p>
          <a:p>
            <a:pPr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здрав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4)</a:t>
            </a:r>
          </a:p>
          <a:p>
            <a:pPr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природы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1) </a:t>
            </a:r>
          </a:p>
          <a:p>
            <a:pPr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регион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1)</a:t>
            </a:r>
          </a:p>
          <a:p>
            <a:pPr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цифры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1)</a:t>
            </a:r>
          </a:p>
          <a:p>
            <a:pPr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минпромэнерго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2)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F5A5A54-06F4-4E2F-BDC6-41726DF86A14}"/>
              </a:ext>
            </a:extLst>
          </p:cNvPr>
          <p:cNvSpPr/>
          <p:nvPr/>
        </p:nvSpPr>
        <p:spPr>
          <a:xfrm>
            <a:off x="2322878" y="2188852"/>
            <a:ext cx="2340810" cy="14337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департамент потребительского рынка (2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ком. по управлению архивным делом (4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ком. по молодежной</a:t>
            </a:r>
            <a:r>
              <a:rPr lang="en-US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 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политике (1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ком. по охране культурного наследия (1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управление ЗАГС (4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управление занятости (2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управление ветеринарии (3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рег. служба ГСН (2)  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рег. служба по тарифам (2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жилинспекция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1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административная инспекция</a:t>
            </a:r>
            <a:r>
              <a:rPr lang="ru-RU" sz="749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(2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департамент мировых судей (4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департамент по предупреждению и ликвидации ЧС (2)</a:t>
            </a:r>
          </a:p>
          <a:p>
            <a:pPr marL="116757" defTabSz="311353">
              <a:buFont typeface="Arial" panose="020B0604020202020204" pitchFamily="34" charset="0"/>
              <a:buChar char="•"/>
            </a:pPr>
            <a:r>
              <a:rPr lang="ru-RU" sz="613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департамент по делам казачества (1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2F48A5-5872-4D70-9DAF-89B4DC6FB024}"/>
              </a:ext>
            </a:extLst>
          </p:cNvPr>
          <p:cNvSpPr txBox="1"/>
          <p:nvPr/>
        </p:nvSpPr>
        <p:spPr>
          <a:xfrm>
            <a:off x="1349997" y="4405374"/>
            <a:ext cx="662361" cy="7210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4086" dirty="0">
                <a:solidFill>
                  <a:prstClr val="white"/>
                </a:solidFill>
                <a:latin typeface="Bebas Neue Bold" panose="020B0606020202050201" pitchFamily="34" charset="-52"/>
              </a:rPr>
              <a:t>5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CF3C84A-1B8F-43FA-A448-F7C5196B4351}"/>
              </a:ext>
            </a:extLst>
          </p:cNvPr>
          <p:cNvSpPr txBox="1"/>
          <p:nvPr/>
        </p:nvSpPr>
        <p:spPr>
          <a:xfrm>
            <a:off x="1854772" y="4582120"/>
            <a:ext cx="1053494" cy="4278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1090" dirty="0">
                <a:solidFill>
                  <a:prstClr val="white"/>
                </a:solidFill>
                <a:latin typeface="Bebas Neue Bold" panose="020B0606020202050201" pitchFamily="34" charset="-52"/>
              </a:rPr>
              <a:t>Муниципальных</a:t>
            </a:r>
            <a:r>
              <a:rPr lang="en-US" sz="1090" dirty="0">
                <a:solidFill>
                  <a:prstClr val="white"/>
                </a:solidFill>
                <a:latin typeface="Bebas Neue Bold" panose="020B0606020202050201" pitchFamily="34" charset="-52"/>
              </a:rPr>
              <a:t/>
            </a:r>
            <a:br>
              <a:rPr lang="en-US" sz="1090" dirty="0">
                <a:solidFill>
                  <a:prstClr val="white"/>
                </a:solidFill>
                <a:latin typeface="Bebas Neue Bold" panose="020B0606020202050201" pitchFamily="34" charset="-52"/>
              </a:rPr>
            </a:br>
            <a:r>
              <a:rPr lang="ru-RU" sz="1090" dirty="0">
                <a:solidFill>
                  <a:prstClr val="white"/>
                </a:solidFill>
                <a:latin typeface="Bebas Neue Bold" panose="020B0606020202050201" pitchFamily="34" charset="-52"/>
              </a:rPr>
              <a:t>образований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1F16D5B-B7EB-4950-A4A2-C48FABA231B1}"/>
              </a:ext>
            </a:extLst>
          </p:cNvPr>
          <p:cNvSpPr txBox="1"/>
          <p:nvPr/>
        </p:nvSpPr>
        <p:spPr>
          <a:xfrm>
            <a:off x="2772095" y="4408774"/>
            <a:ext cx="901209" cy="7210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4086" dirty="0">
                <a:solidFill>
                  <a:prstClr val="white"/>
                </a:solidFill>
                <a:latin typeface="Bebas Neue Bold" panose="020B0606020202050201" pitchFamily="34" charset="-52"/>
              </a:rPr>
              <a:t>42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759ECA-8F70-4C0A-B04F-4AE3D578EF8C}"/>
              </a:ext>
            </a:extLst>
          </p:cNvPr>
          <p:cNvSpPr txBox="1"/>
          <p:nvPr/>
        </p:nvSpPr>
        <p:spPr>
          <a:xfrm>
            <a:off x="3512965" y="4581279"/>
            <a:ext cx="1192662" cy="427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11353"/>
            <a:r>
              <a:rPr lang="ru-RU" sz="1090" dirty="0">
                <a:solidFill>
                  <a:prstClr val="white"/>
                </a:solidFill>
                <a:latin typeface="Bebas Neue Bold" panose="020B0606020202050201" pitchFamily="34" charset="-52"/>
              </a:rPr>
              <a:t>Проектов</a:t>
            </a:r>
          </a:p>
          <a:p>
            <a:pPr defTabSz="311353"/>
            <a:r>
              <a:rPr lang="ru-RU" sz="1090" dirty="0">
                <a:solidFill>
                  <a:prstClr val="white"/>
                </a:solidFill>
                <a:latin typeface="Bebas Neue Bold" panose="020B0606020202050201" pitchFamily="34" charset="-52"/>
              </a:rPr>
              <a:t>(МП)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6F5005EF-0F01-40F2-B918-4079C321583A}"/>
              </a:ext>
            </a:extLst>
          </p:cNvPr>
          <p:cNvSpPr/>
          <p:nvPr/>
        </p:nvSpPr>
        <p:spPr>
          <a:xfrm>
            <a:off x="1338528" y="3504917"/>
            <a:ext cx="1409088" cy="186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11353"/>
            <a:endParaRPr lang="ru-RU" sz="613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ABBE7BA7-490B-441C-B5C5-9581C418B836}"/>
              </a:ext>
            </a:extLst>
          </p:cNvPr>
          <p:cNvSpPr/>
          <p:nvPr/>
        </p:nvSpPr>
        <p:spPr>
          <a:xfrm>
            <a:off x="2661545" y="3519955"/>
            <a:ext cx="2002143" cy="186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11353"/>
            <a:endParaRPr lang="ru-RU" sz="613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C6864680-2CF5-4ED2-AE7A-F2EACBA2AB0A}"/>
              </a:ext>
            </a:extLst>
          </p:cNvPr>
          <p:cNvCxnSpPr>
            <a:cxnSpLocks/>
          </p:cNvCxnSpPr>
          <p:nvPr/>
        </p:nvCxnSpPr>
        <p:spPr>
          <a:xfrm>
            <a:off x="1176500" y="3779817"/>
            <a:ext cx="348135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C6175661-70B2-46E4-8CE3-02E7826B598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4807521" y="1404568"/>
            <a:ext cx="465815" cy="465815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735D9774-7ECC-483D-9AC8-3098E9A7D2D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6489141" y="1404568"/>
            <a:ext cx="465815" cy="465815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BD9F5275-9D09-44C7-8926-92B617780174}"/>
              </a:ext>
            </a:extLst>
          </p:cNvPr>
          <p:cNvSpPr txBox="1"/>
          <p:nvPr/>
        </p:nvSpPr>
        <p:spPr>
          <a:xfrm>
            <a:off x="5276655" y="1404568"/>
            <a:ext cx="1072730" cy="6885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>
              <a:spcAft>
                <a:spcPts val="409"/>
              </a:spcAft>
            </a:pP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Эффективное</a:t>
            </a:r>
            <a:b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строительство</a:t>
            </a:r>
          </a:p>
          <a:p>
            <a:pPr defTabSz="311353">
              <a:spcAft>
                <a:spcPts val="409"/>
              </a:spcAft>
            </a:pPr>
            <a:r>
              <a:rPr lang="ru-RU" sz="1771" b="1" dirty="0">
                <a:solidFill>
                  <a:srgbClr val="B20936"/>
                </a:solidFill>
                <a:latin typeface="Bebas Neue Bold" panose="020B0606020202050201" pitchFamily="34" charset="-52"/>
                <a:ea typeface="Roboto" panose="02000000000000000000" pitchFamily="2" charset="0"/>
              </a:rPr>
              <a:t>2 проекта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A3D3F4E-FB52-4C77-9F14-BA0C0A0F9DA5}"/>
              </a:ext>
            </a:extLst>
          </p:cNvPr>
          <p:cNvSpPr txBox="1"/>
          <p:nvPr/>
        </p:nvSpPr>
        <p:spPr>
          <a:xfrm>
            <a:off x="6970121" y="1393245"/>
            <a:ext cx="1143262" cy="6885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>
              <a:spcAft>
                <a:spcPts val="409"/>
              </a:spcAft>
            </a:pP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Эффективный</a:t>
            </a:r>
            <a:b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транспорт и ЖКХ</a:t>
            </a:r>
          </a:p>
          <a:p>
            <a:pPr defTabSz="311353">
              <a:spcAft>
                <a:spcPts val="409"/>
              </a:spcAft>
            </a:pPr>
            <a:r>
              <a:rPr lang="ru-RU" sz="1771" b="1" dirty="0">
                <a:solidFill>
                  <a:srgbClr val="B20936"/>
                </a:solidFill>
                <a:latin typeface="Bebas Neue Bold" panose="020B0606020202050201" pitchFamily="34" charset="-52"/>
                <a:ea typeface="Roboto" panose="02000000000000000000" pitchFamily="2" charset="0"/>
              </a:rPr>
              <a:t>41 проект</a:t>
            </a: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F9879E2C-E21D-41CB-BB03-D9967FEBD71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4807521" y="2359977"/>
            <a:ext cx="465815" cy="465815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86196C03-67EB-4921-904D-2F00EA93822C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6489141" y="2359977"/>
            <a:ext cx="465815" cy="465815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34892AC5-A59E-4070-B38A-9C18C00A0957}"/>
              </a:ext>
            </a:extLst>
          </p:cNvPr>
          <p:cNvSpPr txBox="1"/>
          <p:nvPr/>
        </p:nvSpPr>
        <p:spPr>
          <a:xfrm>
            <a:off x="5276655" y="2359977"/>
            <a:ext cx="1300356" cy="6885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>
              <a:spcAft>
                <a:spcPts val="409"/>
              </a:spcAft>
            </a:pP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Эффективное</a:t>
            </a:r>
            <a: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/>
            </a:r>
            <a:b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образование</a:t>
            </a:r>
          </a:p>
          <a:p>
            <a:pPr defTabSz="311353">
              <a:spcAft>
                <a:spcPts val="409"/>
              </a:spcAft>
            </a:pPr>
            <a:r>
              <a:rPr lang="ru-RU" sz="1771" b="1" dirty="0">
                <a:solidFill>
                  <a:srgbClr val="B20936"/>
                </a:solidFill>
                <a:latin typeface="Bebas Neue Bold" panose="020B0606020202050201" pitchFamily="34" charset="-52"/>
                <a:ea typeface="Roboto" panose="02000000000000000000" pitchFamily="2" charset="0"/>
              </a:rPr>
              <a:t>66 проектов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B80897A-335D-42A6-B947-897BC5EB468D}"/>
              </a:ext>
            </a:extLst>
          </p:cNvPr>
          <p:cNvSpPr txBox="1"/>
          <p:nvPr/>
        </p:nvSpPr>
        <p:spPr>
          <a:xfrm>
            <a:off x="6970121" y="2348654"/>
            <a:ext cx="1176925" cy="6885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>
              <a:spcAft>
                <a:spcPts val="409"/>
              </a:spcAft>
            </a:pP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Эффективное</a:t>
            </a:r>
            <a:b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здравоохранение</a:t>
            </a:r>
          </a:p>
          <a:p>
            <a:pPr defTabSz="311353">
              <a:spcAft>
                <a:spcPts val="409"/>
              </a:spcAft>
            </a:pPr>
            <a:r>
              <a:rPr lang="ru-RU" sz="1771" b="1" dirty="0">
                <a:solidFill>
                  <a:srgbClr val="B20936"/>
                </a:solidFill>
                <a:latin typeface="Bebas Neue Bold" panose="020B0606020202050201" pitchFamily="34" charset="-52"/>
                <a:ea typeface="Roboto" panose="02000000000000000000" pitchFamily="2" charset="0"/>
              </a:rPr>
              <a:t>82 проекта</a:t>
            </a:r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133D4E77-227C-4228-9F23-EF430C54D3A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4807521" y="3315386"/>
            <a:ext cx="465815" cy="465815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EB3DF855-9592-40EF-A4A1-223258A830FE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6483375" y="3315386"/>
            <a:ext cx="465815" cy="465815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014B4783-6F24-47A9-8874-C4F6B54A842E}"/>
              </a:ext>
            </a:extLst>
          </p:cNvPr>
          <p:cNvSpPr txBox="1"/>
          <p:nvPr/>
        </p:nvSpPr>
        <p:spPr>
          <a:xfrm>
            <a:off x="5276655" y="3315385"/>
            <a:ext cx="1300356" cy="6885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>
              <a:spcAft>
                <a:spcPts val="409"/>
              </a:spcAft>
            </a:pP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Эффективный</a:t>
            </a:r>
            <a:b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спорт и досуг</a:t>
            </a:r>
          </a:p>
          <a:p>
            <a:pPr defTabSz="311353">
              <a:spcAft>
                <a:spcPts val="409"/>
              </a:spcAft>
            </a:pPr>
            <a:r>
              <a:rPr lang="ru-RU" sz="1771" b="1" dirty="0">
                <a:solidFill>
                  <a:srgbClr val="B20936"/>
                </a:solidFill>
                <a:latin typeface="Bebas Neue Bold" panose="020B0606020202050201" pitchFamily="34" charset="-52"/>
                <a:ea typeface="Roboto" panose="02000000000000000000" pitchFamily="2" charset="0"/>
              </a:rPr>
              <a:t>13 проектов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348E2B0-1CA8-4B1E-A546-FEDF3992787D}"/>
              </a:ext>
            </a:extLst>
          </p:cNvPr>
          <p:cNvSpPr txBox="1"/>
          <p:nvPr/>
        </p:nvSpPr>
        <p:spPr>
          <a:xfrm>
            <a:off x="6923993" y="3323523"/>
            <a:ext cx="1358929" cy="6885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11353">
              <a:spcAft>
                <a:spcPts val="409"/>
              </a:spcAft>
            </a:pP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Эффективные</a:t>
            </a:r>
            <a: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/>
            </a:r>
            <a:b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услуги населению</a:t>
            </a:r>
          </a:p>
          <a:p>
            <a:pPr defTabSz="311353">
              <a:spcAft>
                <a:spcPts val="409"/>
              </a:spcAft>
            </a:pPr>
            <a:r>
              <a:rPr lang="ru-RU" sz="1771" b="1" dirty="0">
                <a:solidFill>
                  <a:srgbClr val="B20936"/>
                </a:solidFill>
                <a:latin typeface="Bebas Neue Bold" panose="020B0606020202050201" pitchFamily="34" charset="-52"/>
                <a:ea typeface="Roboto" panose="02000000000000000000" pitchFamily="2" charset="0"/>
              </a:rPr>
              <a:t>131 проект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39D12484-F009-4F6A-BEC3-DA94B4E425F9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4807521" y="4270795"/>
            <a:ext cx="465815" cy="465815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232D09C9-382F-4DDC-A3B3-8778B555D4E7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6500673" y="4270795"/>
            <a:ext cx="465815" cy="465815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7C965A6B-4601-47B5-9903-A9AE317C741A}"/>
              </a:ext>
            </a:extLst>
          </p:cNvPr>
          <p:cNvSpPr txBox="1"/>
          <p:nvPr/>
        </p:nvSpPr>
        <p:spPr>
          <a:xfrm>
            <a:off x="5276655" y="4270795"/>
            <a:ext cx="1404552" cy="8247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>
              <a:spcAft>
                <a:spcPts val="409"/>
              </a:spcAft>
            </a:pP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Оптимизация</a:t>
            </a:r>
            <a: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/>
            </a:r>
            <a:b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административных</a:t>
            </a:r>
            <a: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/>
            </a:r>
            <a:b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процессов</a:t>
            </a:r>
            <a:endParaRPr lang="en-US" sz="885" b="1" dirty="0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defTabSz="311353"/>
            <a:r>
              <a:rPr lang="ru-RU" sz="1771" b="1" dirty="0">
                <a:solidFill>
                  <a:srgbClr val="B20936"/>
                </a:solidFill>
                <a:latin typeface="Bebas Neue Bold" panose="020B0606020202050201" pitchFamily="34" charset="-52"/>
                <a:ea typeface="Roboto" panose="02000000000000000000" pitchFamily="2" charset="0"/>
              </a:rPr>
              <a:t>179 проектов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8BDF331-B482-4711-AF95-5E9F245F1CA3}"/>
              </a:ext>
            </a:extLst>
          </p:cNvPr>
          <p:cNvSpPr txBox="1"/>
          <p:nvPr/>
        </p:nvSpPr>
        <p:spPr>
          <a:xfrm>
            <a:off x="6970121" y="4259473"/>
            <a:ext cx="968535" cy="8247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>
              <a:spcAft>
                <a:spcPts val="409"/>
              </a:spcAft>
            </a:pP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Эффективное</a:t>
            </a:r>
            <a: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/>
            </a:r>
            <a:b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сельское</a:t>
            </a:r>
            <a: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/>
            </a:r>
            <a:br>
              <a:rPr lang="en-US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ru-RU" sz="885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хозяйство</a:t>
            </a:r>
          </a:p>
          <a:p>
            <a:pPr defTabSz="311353">
              <a:spcAft>
                <a:spcPts val="409"/>
              </a:spcAft>
            </a:pPr>
            <a:r>
              <a:rPr lang="ru-RU" sz="1771" b="1" dirty="0">
                <a:solidFill>
                  <a:srgbClr val="B20936"/>
                </a:solidFill>
                <a:latin typeface="Bebas Neue Bold" panose="020B0606020202050201" pitchFamily="34" charset="-52"/>
                <a:ea typeface="Roboto" panose="02000000000000000000" pitchFamily="2" charset="0"/>
              </a:rPr>
              <a:t>1 проект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B2F48A5-5872-4D70-9DAF-89B4DC6FB024}"/>
              </a:ext>
            </a:extLst>
          </p:cNvPr>
          <p:cNvSpPr txBox="1"/>
          <p:nvPr/>
        </p:nvSpPr>
        <p:spPr>
          <a:xfrm>
            <a:off x="1314713" y="4598058"/>
            <a:ext cx="184731" cy="7210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endParaRPr lang="ru-RU" sz="4086" dirty="0">
              <a:solidFill>
                <a:prstClr val="white"/>
              </a:solidFill>
              <a:latin typeface="Bebas Neue Bold" panose="020B0606020202050201" pitchFamily="34" charset="-52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1163614" y="4371677"/>
            <a:ext cx="3496521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9AF74859-ED08-468A-AFF4-97E921DF0E72}"/>
              </a:ext>
            </a:extLst>
          </p:cNvPr>
          <p:cNvSpPr txBox="1"/>
          <p:nvPr/>
        </p:nvSpPr>
        <p:spPr>
          <a:xfrm>
            <a:off x="1349996" y="3736277"/>
            <a:ext cx="423514" cy="7210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4086" dirty="0">
                <a:solidFill>
                  <a:prstClr val="white"/>
                </a:solidFill>
                <a:latin typeface="Bebas Neue Bold" panose="020B0606020202050201" pitchFamily="34" charset="-52"/>
              </a:rPr>
              <a:t>2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731EF47A-08E0-40D1-A69F-F69A6A8751C2}"/>
              </a:ext>
            </a:extLst>
          </p:cNvPr>
          <p:cNvSpPr txBox="1"/>
          <p:nvPr/>
        </p:nvSpPr>
        <p:spPr>
          <a:xfrm>
            <a:off x="1704399" y="3892695"/>
            <a:ext cx="1128632" cy="469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11353"/>
            <a:r>
              <a:rPr lang="ru-RU" sz="1226" dirty="0">
                <a:solidFill>
                  <a:prstClr val="white"/>
                </a:solidFill>
                <a:latin typeface="Bebas Neue Bold" panose="020B0606020202050201" pitchFamily="34" charset="-52"/>
              </a:rPr>
              <a:t>Структурных подразделения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CDFE28B-1DF8-4CFA-B2DC-C101F2C1056C}"/>
              </a:ext>
            </a:extLst>
          </p:cNvPr>
          <p:cNvSpPr txBox="1"/>
          <p:nvPr/>
        </p:nvSpPr>
        <p:spPr>
          <a:xfrm>
            <a:off x="3223762" y="3888748"/>
            <a:ext cx="750526" cy="4696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1226" dirty="0">
                <a:solidFill>
                  <a:prstClr val="white"/>
                </a:solidFill>
                <a:latin typeface="Bebas Neue Bold" panose="020B0606020202050201" pitchFamily="34" charset="-52"/>
              </a:rPr>
              <a:t>Проектов</a:t>
            </a:r>
          </a:p>
          <a:p>
            <a:pPr defTabSz="311353"/>
            <a:r>
              <a:rPr lang="ru-RU" sz="1226" dirty="0">
                <a:solidFill>
                  <a:prstClr val="white"/>
                </a:solidFill>
                <a:latin typeface="Bebas Neue Bold" panose="020B0606020202050201" pitchFamily="34" charset="-52"/>
              </a:rPr>
              <a:t>(ПСП)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1255930-D5B9-45FD-8C08-EE25389A6E5D}"/>
              </a:ext>
            </a:extLst>
          </p:cNvPr>
          <p:cNvSpPr txBox="1"/>
          <p:nvPr/>
        </p:nvSpPr>
        <p:spPr>
          <a:xfrm>
            <a:off x="2871247" y="3732483"/>
            <a:ext cx="423514" cy="7210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4086" dirty="0">
                <a:solidFill>
                  <a:prstClr val="white"/>
                </a:solidFill>
                <a:latin typeface="Bebas Neue Bold" panose="020B0606020202050201" pitchFamily="34" charset="-52"/>
              </a:rPr>
              <a:t>5</a:t>
            </a:r>
          </a:p>
        </p:txBody>
      </p: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C6864680-2CF5-4ED2-AE7A-F2EACBA2AB0A}"/>
              </a:ext>
            </a:extLst>
          </p:cNvPr>
          <p:cNvCxnSpPr>
            <a:cxnSpLocks/>
          </p:cNvCxnSpPr>
          <p:nvPr/>
        </p:nvCxnSpPr>
        <p:spPr>
          <a:xfrm>
            <a:off x="1170890" y="1591873"/>
            <a:ext cx="348135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9AF74859-ED08-468A-AFF4-97E921DF0E72}"/>
              </a:ext>
            </a:extLst>
          </p:cNvPr>
          <p:cNvSpPr txBox="1"/>
          <p:nvPr/>
        </p:nvSpPr>
        <p:spPr>
          <a:xfrm>
            <a:off x="1314712" y="943690"/>
            <a:ext cx="423514" cy="7210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11353"/>
            <a:r>
              <a:rPr lang="ru-RU" sz="4086" dirty="0">
                <a:solidFill>
                  <a:prstClr val="white"/>
                </a:solidFill>
                <a:latin typeface="Bebas Neue Bold" panose="020B0606020202050201" pitchFamily="34" charset="-52"/>
              </a:rPr>
              <a:t>1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31EF47A-08E0-40D1-A69F-F69A6A8751C2}"/>
              </a:ext>
            </a:extLst>
          </p:cNvPr>
          <p:cNvSpPr txBox="1"/>
          <p:nvPr/>
        </p:nvSpPr>
        <p:spPr>
          <a:xfrm>
            <a:off x="1633842" y="1105596"/>
            <a:ext cx="3047258" cy="469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11353"/>
            <a:r>
              <a:rPr lang="ru-RU" sz="1226" dirty="0">
                <a:solidFill>
                  <a:prstClr val="white"/>
                </a:solidFill>
                <a:latin typeface="Bebas Neue Bold" panose="020B0606020202050201" pitchFamily="34" charset="-52"/>
              </a:rPr>
              <a:t>Межведомственный проект – сквозной инвестиционный поток</a:t>
            </a:r>
          </a:p>
        </p:txBody>
      </p:sp>
      <p:sp>
        <p:nvSpPr>
          <p:cNvPr id="56" name="Заголовок 2"/>
          <p:cNvSpPr txBox="1">
            <a:spLocks/>
          </p:cNvSpPr>
          <p:nvPr/>
        </p:nvSpPr>
        <p:spPr>
          <a:xfrm>
            <a:off x="165322" y="58059"/>
            <a:ext cx="6758671" cy="581660"/>
          </a:xfrm>
          <a:prstGeom prst="rect">
            <a:avLst/>
          </a:prstGeom>
        </p:spPr>
        <p:txBody>
          <a:bodyPr lIns="0" tIns="0" rIns="0" bIns="0"/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b="1">
                <a:solidFill>
                  <a:srgbClr val="333333"/>
                </a:solidFill>
                <a:latin typeface="Arial" charset="0"/>
                <a:ea typeface="Arial" charset="0"/>
                <a:cs typeface="Times New Roman" panose="0202060305040502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Эффективный регион в Ростовской области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2882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10.xml><?xml version="1.0" encoding="utf-8"?>
<a:theme xmlns:a="http://schemas.openxmlformats.org/drawingml/2006/main" name="1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14.xml><?xml version="1.0" encoding="utf-8"?>
<a:theme xmlns:a="http://schemas.openxmlformats.org/drawingml/2006/main" name="3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4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17.xml><?xml version="1.0" encoding="utf-8"?>
<a:theme xmlns:a="http://schemas.openxmlformats.org/drawingml/2006/main" name="1_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00DAE905-2894-9645-87E8-4A089C61D1E7}" vid="{BB001172-481D-5B4F-A54A-4F845D4C8301}"/>
    </a:ext>
  </a:extLst>
</a:theme>
</file>

<file path=ppt/theme/theme18.xml><?xml version="1.0" encoding="utf-8"?>
<a:theme xmlns:a="http://schemas.openxmlformats.org/drawingml/2006/main" name="1_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19.xml><?xml version="1.0" encoding="utf-8"?>
<a:theme xmlns:a="http://schemas.openxmlformats.org/drawingml/2006/main" name="2_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00DAE905-2894-9645-87E8-4A089C61D1E7}" vid="{BB001172-481D-5B4F-A54A-4F845D4C8301}"/>
    </a:ext>
  </a:extLst>
</a:theme>
</file>

<file path=ppt/theme/theme2.xml><?xml version="1.0" encoding="utf-8"?>
<a:theme xmlns:a="http://schemas.openxmlformats.org/drawingml/2006/main" name="Перебивочный слайд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6BE6B458-93C6-814D-A81B-47849E6A55A1}"/>
    </a:ext>
  </a:extLst>
</a:theme>
</file>

<file path=ppt/theme/theme20.xml><?xml version="1.0" encoding="utf-8"?>
<a:theme xmlns:a="http://schemas.openxmlformats.org/drawingml/2006/main" name="2_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21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9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3.xml><?xml version="1.0" encoding="utf-8"?>
<a:theme xmlns:a="http://schemas.openxmlformats.org/drawingml/2006/main" name="6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2_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5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6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1_Диаграммы">
  <a:themeElements>
    <a:clrScheme name="тема для слайдов с диаграммами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293D6D"/>
      </a:accent1>
      <a:accent2>
        <a:srgbClr val="456EA9"/>
      </a:accent2>
      <a:accent3>
        <a:srgbClr val="68B0E0"/>
      </a:accent3>
      <a:accent4>
        <a:srgbClr val="ACC44D"/>
      </a:accent4>
      <a:accent5>
        <a:srgbClr val="4C9D8D"/>
      </a:accent5>
      <a:accent6>
        <a:srgbClr val="7F7F7F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28.xml><?xml version="1.0" encoding="utf-8"?>
<a:theme xmlns:a="http://schemas.openxmlformats.org/drawingml/2006/main" name="7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8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30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1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3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кст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5.xml><?xml version="1.0" encoding="utf-8"?>
<a:theme xmlns:a="http://schemas.openxmlformats.org/drawingml/2006/main" name="Диаграммы">
  <a:themeElements>
    <a:clrScheme name="тема для слайдов с диаграммами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293D6D"/>
      </a:accent1>
      <a:accent2>
        <a:srgbClr val="456EA9"/>
      </a:accent2>
      <a:accent3>
        <a:srgbClr val="68B0E0"/>
      </a:accent3>
      <a:accent4>
        <a:srgbClr val="ACC44D"/>
      </a:accent4>
      <a:accent5>
        <a:srgbClr val="4C9D8D"/>
      </a:accent5>
      <a:accent6>
        <a:srgbClr val="7F7F7F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6.xml><?xml version="1.0" encoding="utf-8"?>
<a:theme xmlns:a="http://schemas.openxmlformats.org/drawingml/2006/main" name="Текст диаграмма">
  <a:themeElements>
    <a:clrScheme name="тема для слайдов текст-диаграмма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EBA444"/>
      </a:accent1>
      <a:accent2>
        <a:srgbClr val="F06942"/>
      </a:accent2>
      <a:accent3>
        <a:srgbClr val="AD5483"/>
      </a:accent3>
      <a:accent4>
        <a:srgbClr val="456EA9"/>
      </a:accent4>
      <a:accent5>
        <a:srgbClr val="68B0E0"/>
      </a:accent5>
      <a:accent6>
        <a:srgbClr val="259789"/>
      </a:accent6>
      <a:hlink>
        <a:srgbClr val="414042"/>
      </a:hlink>
      <a:folHlink>
        <a:srgbClr val="41404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7.xml><?xml version="1.0" encoding="utf-8"?>
<a:theme xmlns:a="http://schemas.openxmlformats.org/drawingml/2006/main" name="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00DAE905-2894-9645-87E8-4A089C61D1E7}" vid="{BB001172-481D-5B4F-A54A-4F845D4C8301}"/>
    </a:ext>
  </a:extLst>
</a:theme>
</file>

<file path=ppt/theme/theme8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x9_white_template</Template>
  <TotalTime>8033</TotalTime>
  <Words>488</Words>
  <Application>Microsoft Office PowerPoint</Application>
  <PresentationFormat>Произвольный</PresentationFormat>
  <Paragraphs>142</Paragraphs>
  <Slides>8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3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8</vt:i4>
      </vt:variant>
    </vt:vector>
  </HeadingPairs>
  <TitlesOfParts>
    <vt:vector size="47" baseType="lpstr">
      <vt:lpstr>Arial</vt:lpstr>
      <vt:lpstr>Bebas Neue Bold</vt:lpstr>
      <vt:lpstr>Calibri</vt:lpstr>
      <vt:lpstr>Calibri Light</vt:lpstr>
      <vt:lpstr>Roboto</vt:lpstr>
      <vt:lpstr>Times New Roman</vt:lpstr>
      <vt:lpstr>Титульный слайд</vt:lpstr>
      <vt:lpstr>Перебивочный слайд</vt:lpstr>
      <vt:lpstr>Текст картинка</vt:lpstr>
      <vt:lpstr>Текст</vt:lpstr>
      <vt:lpstr>Диаграммы</vt:lpstr>
      <vt:lpstr>Текст диаграмма</vt:lpstr>
      <vt:lpstr>Заключительный слайд</vt:lpstr>
      <vt:lpstr>b-default</vt:lpstr>
      <vt:lpstr>Firm Format - Russian</vt:lpstr>
      <vt:lpstr>1_Firm Format - Russian</vt:lpstr>
      <vt:lpstr>1_b-default</vt:lpstr>
      <vt:lpstr>2_Firm Format - Russian</vt:lpstr>
      <vt:lpstr>4_RDM027</vt:lpstr>
      <vt:lpstr>3_Firm Format - Russian</vt:lpstr>
      <vt:lpstr>4_Firm Format - Russian</vt:lpstr>
      <vt:lpstr>1_Текст картинка</vt:lpstr>
      <vt:lpstr>1_Заключительный слайд</vt:lpstr>
      <vt:lpstr>1_Титульный слайд</vt:lpstr>
      <vt:lpstr>2_Заключительный слайд</vt:lpstr>
      <vt:lpstr>2_Титульный слайд</vt:lpstr>
      <vt:lpstr>2_b-default</vt:lpstr>
      <vt:lpstr>9_RDM027</vt:lpstr>
      <vt:lpstr>6_Текст картинка</vt:lpstr>
      <vt:lpstr>2_Текст картинка</vt:lpstr>
      <vt:lpstr>5_Firm Format - Russian</vt:lpstr>
      <vt:lpstr>6_Firm Format - Russian</vt:lpstr>
      <vt:lpstr>1_Диаграммы</vt:lpstr>
      <vt:lpstr>7_Firm Format - Russian</vt:lpstr>
      <vt:lpstr>8_Firm Format - Russian</vt:lpstr>
      <vt:lpstr>Тема Office</vt:lpstr>
      <vt:lpstr>5_RDM027</vt:lpstr>
      <vt:lpstr>think-cell Slide</vt:lpstr>
      <vt:lpstr>Точечный рисуно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на Хомякова</dc:creator>
  <cp:lastModifiedBy>Пользователь</cp:lastModifiedBy>
  <cp:revision>408</cp:revision>
  <cp:lastPrinted>2022-03-25T08:53:14Z</cp:lastPrinted>
  <dcterms:created xsi:type="dcterms:W3CDTF">2019-09-24T12:37:05Z</dcterms:created>
  <dcterms:modified xsi:type="dcterms:W3CDTF">2023-09-22T09:03:54Z</dcterms:modified>
</cp:coreProperties>
</file>